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629" autoAdjust="0"/>
  </p:normalViewPr>
  <p:slideViewPr>
    <p:cSldViewPr showGuides="1">
      <p:cViewPr varScale="1">
        <p:scale>
          <a:sx n="78" d="100"/>
          <a:sy n="78" d="100"/>
        </p:scale>
        <p:origin x="168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57F349-D566-45B1-85EE-31331873AB97}" type="datetime1">
              <a:rPr lang="de-DE" smtClean="0"/>
              <a:t>22.0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EEC04-0E85-445E-B4EE-F7965B789B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9668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4979C1-8BE8-46B2-A594-29912848ADCD}" type="datetime1">
              <a:rPr lang="de-DE" smtClean="0"/>
              <a:t>22.02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C01E9F-B71F-4D58-90E1-E17EF002E4B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18224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01E9F-B71F-4D58-90E1-E17EF002E4B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6962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9144000" cy="1196752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de-DE" sz="2400" dirty="0">
                <a:solidFill>
                  <a:srgbClr val="006C30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238125" y="188640"/>
            <a:ext cx="8667749" cy="784225"/>
            <a:chOff x="179388" y="184151"/>
            <a:chExt cx="8667749" cy="784225"/>
          </a:xfrm>
        </p:grpSpPr>
        <p:sp>
          <p:nvSpPr>
            <p:cNvPr id="12" name="Freeform 76"/>
            <p:cNvSpPr>
              <a:spLocks noEditPoints="1"/>
            </p:cNvSpPr>
            <p:nvPr userDrawn="1"/>
          </p:nvSpPr>
          <p:spPr bwMode="auto">
            <a:xfrm>
              <a:off x="179388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3" name="Freeform 77"/>
            <p:cNvSpPr>
              <a:spLocks noEditPoints="1"/>
            </p:cNvSpPr>
            <p:nvPr userDrawn="1"/>
          </p:nvSpPr>
          <p:spPr bwMode="auto">
            <a:xfrm>
              <a:off x="1028700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4" name="Freeform 78"/>
            <p:cNvSpPr>
              <a:spLocks noEditPoints="1"/>
            </p:cNvSpPr>
            <p:nvPr userDrawn="1"/>
          </p:nvSpPr>
          <p:spPr bwMode="auto">
            <a:xfrm>
              <a:off x="1879600" y="184151"/>
              <a:ext cx="5167312" cy="784225"/>
            </a:xfrm>
            <a:custGeom>
              <a:avLst/>
              <a:gdLst>
                <a:gd name="T0" fmla="*/ 4681 w 4687"/>
                <a:gd name="T1" fmla="*/ 689 h 696"/>
                <a:gd name="T2" fmla="*/ 4681 w 4687"/>
                <a:gd name="T3" fmla="*/ 689 h 696"/>
                <a:gd name="T4" fmla="*/ 7 w 4687"/>
                <a:gd name="T5" fmla="*/ 689 h 696"/>
                <a:gd name="T6" fmla="*/ 7 w 4687"/>
                <a:gd name="T7" fmla="*/ 6 h 696"/>
                <a:gd name="T8" fmla="*/ 4681 w 4687"/>
                <a:gd name="T9" fmla="*/ 6 h 696"/>
                <a:gd name="T10" fmla="*/ 4681 w 4687"/>
                <a:gd name="T11" fmla="*/ 689 h 696"/>
                <a:gd name="T12" fmla="*/ 4681 w 4687"/>
                <a:gd name="T13" fmla="*/ 689 h 696"/>
                <a:gd name="T14" fmla="*/ 4684 w 4687"/>
                <a:gd name="T15" fmla="*/ 0 h 696"/>
                <a:gd name="T16" fmla="*/ 4684 w 4687"/>
                <a:gd name="T17" fmla="*/ 0 h 696"/>
                <a:gd name="T18" fmla="*/ 0 w 4687"/>
                <a:gd name="T19" fmla="*/ 0 h 696"/>
                <a:gd name="T20" fmla="*/ 0 w 4687"/>
                <a:gd name="T21" fmla="*/ 696 h 696"/>
                <a:gd name="T22" fmla="*/ 4687 w 4687"/>
                <a:gd name="T23" fmla="*/ 696 h 696"/>
                <a:gd name="T24" fmla="*/ 4687 w 4687"/>
                <a:gd name="T25" fmla="*/ 0 h 696"/>
                <a:gd name="T26" fmla="*/ 4684 w 4687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7" h="696">
                  <a:moveTo>
                    <a:pt x="4681" y="689"/>
                  </a:moveTo>
                  <a:lnTo>
                    <a:pt x="4681" y="689"/>
                  </a:lnTo>
                  <a:cubicBezTo>
                    <a:pt x="4675" y="689"/>
                    <a:pt x="13" y="689"/>
                    <a:pt x="7" y="689"/>
                  </a:cubicBezTo>
                  <a:cubicBezTo>
                    <a:pt x="7" y="683"/>
                    <a:pt x="7" y="12"/>
                    <a:pt x="7" y="6"/>
                  </a:cubicBezTo>
                  <a:cubicBezTo>
                    <a:pt x="13" y="6"/>
                    <a:pt x="4675" y="6"/>
                    <a:pt x="4681" y="6"/>
                  </a:cubicBezTo>
                  <a:cubicBezTo>
                    <a:pt x="4681" y="12"/>
                    <a:pt x="4681" y="683"/>
                    <a:pt x="4681" y="689"/>
                  </a:cubicBezTo>
                  <a:lnTo>
                    <a:pt x="4681" y="689"/>
                  </a:lnTo>
                  <a:close/>
                  <a:moveTo>
                    <a:pt x="4684" y="0"/>
                  </a:moveTo>
                  <a:lnTo>
                    <a:pt x="4684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4687" y="696"/>
                  </a:lnTo>
                  <a:lnTo>
                    <a:pt x="4687" y="0"/>
                  </a:lnTo>
                  <a:lnTo>
                    <a:pt x="4684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5" name="Freeform 79"/>
            <p:cNvSpPr>
              <a:spLocks noEditPoints="1"/>
            </p:cNvSpPr>
            <p:nvPr userDrawn="1"/>
          </p:nvSpPr>
          <p:spPr bwMode="auto">
            <a:xfrm>
              <a:off x="7134225" y="184151"/>
              <a:ext cx="1712912" cy="784225"/>
            </a:xfrm>
            <a:custGeom>
              <a:avLst/>
              <a:gdLst>
                <a:gd name="T0" fmla="*/ 1547 w 1554"/>
                <a:gd name="T1" fmla="*/ 689 h 696"/>
                <a:gd name="T2" fmla="*/ 1547 w 1554"/>
                <a:gd name="T3" fmla="*/ 689 h 696"/>
                <a:gd name="T4" fmla="*/ 6 w 1554"/>
                <a:gd name="T5" fmla="*/ 689 h 696"/>
                <a:gd name="T6" fmla="*/ 6 w 1554"/>
                <a:gd name="T7" fmla="*/ 6 h 696"/>
                <a:gd name="T8" fmla="*/ 1547 w 1554"/>
                <a:gd name="T9" fmla="*/ 6 h 696"/>
                <a:gd name="T10" fmla="*/ 1547 w 1554"/>
                <a:gd name="T11" fmla="*/ 689 h 696"/>
                <a:gd name="T12" fmla="*/ 1547 w 1554"/>
                <a:gd name="T13" fmla="*/ 689 h 696"/>
                <a:gd name="T14" fmla="*/ 1551 w 1554"/>
                <a:gd name="T15" fmla="*/ 0 h 696"/>
                <a:gd name="T16" fmla="*/ 1551 w 1554"/>
                <a:gd name="T17" fmla="*/ 0 h 696"/>
                <a:gd name="T18" fmla="*/ 0 w 1554"/>
                <a:gd name="T19" fmla="*/ 0 h 696"/>
                <a:gd name="T20" fmla="*/ 0 w 1554"/>
                <a:gd name="T21" fmla="*/ 696 h 696"/>
                <a:gd name="T22" fmla="*/ 1554 w 1554"/>
                <a:gd name="T23" fmla="*/ 696 h 696"/>
                <a:gd name="T24" fmla="*/ 1554 w 1554"/>
                <a:gd name="T25" fmla="*/ 0 h 696"/>
                <a:gd name="T26" fmla="*/ 1551 w 1554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4" h="696">
                  <a:moveTo>
                    <a:pt x="1547" y="689"/>
                  </a:moveTo>
                  <a:lnTo>
                    <a:pt x="1547" y="689"/>
                  </a:lnTo>
                  <a:cubicBezTo>
                    <a:pt x="1541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1541" y="6"/>
                    <a:pt x="1547" y="6"/>
                  </a:cubicBezTo>
                  <a:cubicBezTo>
                    <a:pt x="1547" y="12"/>
                    <a:pt x="1547" y="683"/>
                    <a:pt x="1547" y="689"/>
                  </a:cubicBezTo>
                  <a:lnTo>
                    <a:pt x="1547" y="689"/>
                  </a:lnTo>
                  <a:close/>
                  <a:moveTo>
                    <a:pt x="1551" y="0"/>
                  </a:moveTo>
                  <a:lnTo>
                    <a:pt x="1551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1554" y="696"/>
                  </a:lnTo>
                  <a:lnTo>
                    <a:pt x="1554" y="0"/>
                  </a:lnTo>
                  <a:lnTo>
                    <a:pt x="155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6" name="Freeform 80"/>
            <p:cNvSpPr>
              <a:spLocks noEditPoints="1"/>
            </p:cNvSpPr>
            <p:nvPr userDrawn="1"/>
          </p:nvSpPr>
          <p:spPr bwMode="auto">
            <a:xfrm>
              <a:off x="233363" y="638176"/>
              <a:ext cx="652462" cy="277813"/>
            </a:xfrm>
            <a:custGeom>
              <a:avLst/>
              <a:gdLst>
                <a:gd name="T0" fmla="*/ 371 w 591"/>
                <a:gd name="T1" fmla="*/ 148 h 246"/>
                <a:gd name="T2" fmla="*/ 453 w 591"/>
                <a:gd name="T3" fmla="*/ 0 h 246"/>
                <a:gd name="T4" fmla="*/ 461 w 591"/>
                <a:gd name="T5" fmla="*/ 180 h 246"/>
                <a:gd name="T6" fmla="*/ 502 w 591"/>
                <a:gd name="T7" fmla="*/ 180 h 246"/>
                <a:gd name="T8" fmla="*/ 510 w 591"/>
                <a:gd name="T9" fmla="*/ 0 h 246"/>
                <a:gd name="T10" fmla="*/ 591 w 591"/>
                <a:gd name="T11" fmla="*/ 148 h 246"/>
                <a:gd name="T12" fmla="*/ 561 w 591"/>
                <a:gd name="T13" fmla="*/ 223 h 246"/>
                <a:gd name="T14" fmla="*/ 481 w 591"/>
                <a:gd name="T15" fmla="*/ 246 h 246"/>
                <a:gd name="T16" fmla="*/ 402 w 591"/>
                <a:gd name="T17" fmla="*/ 223 h 246"/>
                <a:gd name="T18" fmla="*/ 371 w 591"/>
                <a:gd name="T19" fmla="*/ 148 h 246"/>
                <a:gd name="T20" fmla="*/ 226 w 591"/>
                <a:gd name="T21" fmla="*/ 185 h 246"/>
                <a:gd name="T22" fmla="*/ 229 w 591"/>
                <a:gd name="T23" fmla="*/ 188 h 246"/>
                <a:gd name="T24" fmla="*/ 238 w 591"/>
                <a:gd name="T25" fmla="*/ 134 h 246"/>
                <a:gd name="T26" fmla="*/ 258 w 591"/>
                <a:gd name="T27" fmla="*/ 32 h 246"/>
                <a:gd name="T28" fmla="*/ 342 w 591"/>
                <a:gd name="T29" fmla="*/ 0 h 246"/>
                <a:gd name="T30" fmla="*/ 296 w 591"/>
                <a:gd name="T31" fmla="*/ 239 h 246"/>
                <a:gd name="T32" fmla="*/ 293 w 591"/>
                <a:gd name="T33" fmla="*/ 36 h 246"/>
                <a:gd name="T34" fmla="*/ 286 w 591"/>
                <a:gd name="T35" fmla="*/ 69 h 246"/>
                <a:gd name="T36" fmla="*/ 267 w 591"/>
                <a:gd name="T37" fmla="*/ 165 h 246"/>
                <a:gd name="T38" fmla="*/ 203 w 591"/>
                <a:gd name="T39" fmla="*/ 239 h 246"/>
                <a:gd name="T40" fmla="*/ 177 w 591"/>
                <a:gd name="T41" fmla="*/ 114 h 246"/>
                <a:gd name="T42" fmla="*/ 162 w 591"/>
                <a:gd name="T43" fmla="*/ 38 h 246"/>
                <a:gd name="T44" fmla="*/ 158 w 591"/>
                <a:gd name="T45" fmla="*/ 38 h 246"/>
                <a:gd name="T46" fmla="*/ 116 w 591"/>
                <a:gd name="T47" fmla="*/ 239 h 246"/>
                <a:gd name="T48" fmla="*/ 193 w 591"/>
                <a:gd name="T49" fmla="*/ 0 h 246"/>
                <a:gd name="T50" fmla="*/ 203 w 591"/>
                <a:gd name="T51" fmla="*/ 48 h 246"/>
                <a:gd name="T52" fmla="*/ 215 w 591"/>
                <a:gd name="T53" fmla="*/ 116 h 246"/>
                <a:gd name="T54" fmla="*/ 226 w 591"/>
                <a:gd name="T55" fmla="*/ 185 h 246"/>
                <a:gd name="T56" fmla="*/ 0 w 591"/>
                <a:gd name="T57" fmla="*/ 0 h 246"/>
                <a:gd name="T58" fmla="*/ 23 w 591"/>
                <a:gd name="T59" fmla="*/ 0 h 246"/>
                <a:gd name="T60" fmla="*/ 92 w 591"/>
                <a:gd name="T61" fmla="*/ 221 h 246"/>
                <a:gd name="T62" fmla="*/ 0 w 591"/>
                <a:gd name="T63" fmla="*/ 23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1" h="246">
                  <a:moveTo>
                    <a:pt x="371" y="148"/>
                  </a:moveTo>
                  <a:lnTo>
                    <a:pt x="371" y="148"/>
                  </a:lnTo>
                  <a:lnTo>
                    <a:pt x="371" y="0"/>
                  </a:lnTo>
                  <a:lnTo>
                    <a:pt x="453" y="0"/>
                  </a:lnTo>
                  <a:lnTo>
                    <a:pt x="453" y="156"/>
                  </a:lnTo>
                  <a:cubicBezTo>
                    <a:pt x="453" y="167"/>
                    <a:pt x="456" y="175"/>
                    <a:pt x="461" y="180"/>
                  </a:cubicBezTo>
                  <a:cubicBezTo>
                    <a:pt x="466" y="184"/>
                    <a:pt x="473" y="187"/>
                    <a:pt x="481" y="187"/>
                  </a:cubicBezTo>
                  <a:cubicBezTo>
                    <a:pt x="490" y="187"/>
                    <a:pt x="497" y="184"/>
                    <a:pt x="502" y="180"/>
                  </a:cubicBezTo>
                  <a:cubicBezTo>
                    <a:pt x="507" y="175"/>
                    <a:pt x="510" y="167"/>
                    <a:pt x="510" y="156"/>
                  </a:cubicBezTo>
                  <a:lnTo>
                    <a:pt x="510" y="0"/>
                  </a:lnTo>
                  <a:lnTo>
                    <a:pt x="591" y="0"/>
                  </a:lnTo>
                  <a:lnTo>
                    <a:pt x="591" y="148"/>
                  </a:lnTo>
                  <a:cubicBezTo>
                    <a:pt x="591" y="166"/>
                    <a:pt x="589" y="181"/>
                    <a:pt x="583" y="193"/>
                  </a:cubicBezTo>
                  <a:cubicBezTo>
                    <a:pt x="578" y="205"/>
                    <a:pt x="571" y="215"/>
                    <a:pt x="561" y="223"/>
                  </a:cubicBezTo>
                  <a:cubicBezTo>
                    <a:pt x="551" y="231"/>
                    <a:pt x="540" y="237"/>
                    <a:pt x="526" y="240"/>
                  </a:cubicBezTo>
                  <a:cubicBezTo>
                    <a:pt x="513" y="244"/>
                    <a:pt x="498" y="246"/>
                    <a:pt x="481" y="246"/>
                  </a:cubicBezTo>
                  <a:cubicBezTo>
                    <a:pt x="465" y="246"/>
                    <a:pt x="450" y="244"/>
                    <a:pt x="437" y="240"/>
                  </a:cubicBezTo>
                  <a:cubicBezTo>
                    <a:pt x="423" y="237"/>
                    <a:pt x="412" y="231"/>
                    <a:pt x="402" y="223"/>
                  </a:cubicBezTo>
                  <a:cubicBezTo>
                    <a:pt x="392" y="215"/>
                    <a:pt x="385" y="205"/>
                    <a:pt x="379" y="193"/>
                  </a:cubicBezTo>
                  <a:cubicBezTo>
                    <a:pt x="374" y="181"/>
                    <a:pt x="371" y="166"/>
                    <a:pt x="371" y="148"/>
                  </a:cubicBezTo>
                  <a:lnTo>
                    <a:pt x="371" y="148"/>
                  </a:lnTo>
                  <a:close/>
                  <a:moveTo>
                    <a:pt x="226" y="185"/>
                  </a:moveTo>
                  <a:lnTo>
                    <a:pt x="226" y="185"/>
                  </a:lnTo>
                  <a:cubicBezTo>
                    <a:pt x="226" y="187"/>
                    <a:pt x="227" y="188"/>
                    <a:pt x="229" y="188"/>
                  </a:cubicBezTo>
                  <a:cubicBezTo>
                    <a:pt x="230" y="188"/>
                    <a:pt x="230" y="187"/>
                    <a:pt x="230" y="185"/>
                  </a:cubicBezTo>
                  <a:cubicBezTo>
                    <a:pt x="232" y="169"/>
                    <a:pt x="235" y="152"/>
                    <a:pt x="238" y="134"/>
                  </a:cubicBezTo>
                  <a:cubicBezTo>
                    <a:pt x="242" y="115"/>
                    <a:pt x="245" y="97"/>
                    <a:pt x="248" y="80"/>
                  </a:cubicBezTo>
                  <a:cubicBezTo>
                    <a:pt x="252" y="62"/>
                    <a:pt x="255" y="46"/>
                    <a:pt x="258" y="32"/>
                  </a:cubicBezTo>
                  <a:cubicBezTo>
                    <a:pt x="261" y="18"/>
                    <a:pt x="263" y="7"/>
                    <a:pt x="265" y="0"/>
                  </a:cubicBezTo>
                  <a:lnTo>
                    <a:pt x="342" y="0"/>
                  </a:lnTo>
                  <a:lnTo>
                    <a:pt x="342" y="239"/>
                  </a:lnTo>
                  <a:lnTo>
                    <a:pt x="296" y="239"/>
                  </a:lnTo>
                  <a:lnTo>
                    <a:pt x="296" y="38"/>
                  </a:lnTo>
                  <a:cubicBezTo>
                    <a:pt x="296" y="36"/>
                    <a:pt x="295" y="36"/>
                    <a:pt x="293" y="36"/>
                  </a:cubicBezTo>
                  <a:cubicBezTo>
                    <a:pt x="292" y="36"/>
                    <a:pt x="292" y="36"/>
                    <a:pt x="292" y="38"/>
                  </a:cubicBezTo>
                  <a:cubicBezTo>
                    <a:pt x="290" y="47"/>
                    <a:pt x="288" y="58"/>
                    <a:pt x="286" y="69"/>
                  </a:cubicBezTo>
                  <a:cubicBezTo>
                    <a:pt x="284" y="81"/>
                    <a:pt x="281" y="95"/>
                    <a:pt x="278" y="110"/>
                  </a:cubicBezTo>
                  <a:cubicBezTo>
                    <a:pt x="275" y="126"/>
                    <a:pt x="271" y="144"/>
                    <a:pt x="267" y="165"/>
                  </a:cubicBezTo>
                  <a:cubicBezTo>
                    <a:pt x="262" y="186"/>
                    <a:pt x="257" y="211"/>
                    <a:pt x="251" y="239"/>
                  </a:cubicBezTo>
                  <a:lnTo>
                    <a:pt x="203" y="239"/>
                  </a:lnTo>
                  <a:cubicBezTo>
                    <a:pt x="197" y="211"/>
                    <a:pt x="192" y="187"/>
                    <a:pt x="188" y="167"/>
                  </a:cubicBezTo>
                  <a:cubicBezTo>
                    <a:pt x="184" y="147"/>
                    <a:pt x="180" y="129"/>
                    <a:pt x="177" y="114"/>
                  </a:cubicBezTo>
                  <a:cubicBezTo>
                    <a:pt x="174" y="98"/>
                    <a:pt x="172" y="85"/>
                    <a:pt x="169" y="73"/>
                  </a:cubicBezTo>
                  <a:cubicBezTo>
                    <a:pt x="167" y="61"/>
                    <a:pt x="164" y="49"/>
                    <a:pt x="162" y="38"/>
                  </a:cubicBezTo>
                  <a:cubicBezTo>
                    <a:pt x="162" y="36"/>
                    <a:pt x="161" y="36"/>
                    <a:pt x="160" y="36"/>
                  </a:cubicBezTo>
                  <a:cubicBezTo>
                    <a:pt x="159" y="36"/>
                    <a:pt x="158" y="36"/>
                    <a:pt x="158" y="38"/>
                  </a:cubicBezTo>
                  <a:lnTo>
                    <a:pt x="158" y="239"/>
                  </a:lnTo>
                  <a:lnTo>
                    <a:pt x="116" y="239"/>
                  </a:lnTo>
                  <a:lnTo>
                    <a:pt x="116" y="0"/>
                  </a:lnTo>
                  <a:lnTo>
                    <a:pt x="193" y="0"/>
                  </a:lnTo>
                  <a:cubicBezTo>
                    <a:pt x="194" y="5"/>
                    <a:pt x="196" y="12"/>
                    <a:pt x="197" y="20"/>
                  </a:cubicBezTo>
                  <a:cubicBezTo>
                    <a:pt x="199" y="28"/>
                    <a:pt x="201" y="37"/>
                    <a:pt x="203" y="48"/>
                  </a:cubicBezTo>
                  <a:cubicBezTo>
                    <a:pt x="205" y="58"/>
                    <a:pt x="207" y="69"/>
                    <a:pt x="209" y="81"/>
                  </a:cubicBezTo>
                  <a:cubicBezTo>
                    <a:pt x="211" y="92"/>
                    <a:pt x="213" y="104"/>
                    <a:pt x="215" y="116"/>
                  </a:cubicBezTo>
                  <a:cubicBezTo>
                    <a:pt x="217" y="128"/>
                    <a:pt x="219" y="140"/>
                    <a:pt x="221" y="152"/>
                  </a:cubicBezTo>
                  <a:cubicBezTo>
                    <a:pt x="223" y="164"/>
                    <a:pt x="225" y="175"/>
                    <a:pt x="226" y="185"/>
                  </a:cubicBezTo>
                  <a:lnTo>
                    <a:pt x="226" y="185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23" y="221"/>
                  </a:lnTo>
                  <a:lnTo>
                    <a:pt x="92" y="221"/>
                  </a:lnTo>
                  <a:lnTo>
                    <a:pt x="92" y="239"/>
                  </a:lnTo>
                  <a:lnTo>
                    <a:pt x="0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" name="Freeform 81"/>
            <p:cNvSpPr>
              <a:spLocks/>
            </p:cNvSpPr>
            <p:nvPr userDrawn="1"/>
          </p:nvSpPr>
          <p:spPr bwMode="auto">
            <a:xfrm>
              <a:off x="1085850" y="534988"/>
              <a:ext cx="38100" cy="57150"/>
            </a:xfrm>
            <a:custGeom>
              <a:avLst/>
              <a:gdLst>
                <a:gd name="T0" fmla="*/ 0 w 34"/>
                <a:gd name="T1" fmla="*/ 51 h 51"/>
                <a:gd name="T2" fmla="*/ 0 w 34"/>
                <a:gd name="T3" fmla="*/ 51 h 51"/>
                <a:gd name="T4" fmla="*/ 0 w 34"/>
                <a:gd name="T5" fmla="*/ 0 h 51"/>
                <a:gd name="T6" fmla="*/ 9 w 34"/>
                <a:gd name="T7" fmla="*/ 0 h 51"/>
                <a:gd name="T8" fmla="*/ 9 w 34"/>
                <a:gd name="T9" fmla="*/ 43 h 51"/>
                <a:gd name="T10" fmla="*/ 34 w 34"/>
                <a:gd name="T11" fmla="*/ 43 h 51"/>
                <a:gd name="T12" fmla="*/ 34 w 34"/>
                <a:gd name="T13" fmla="*/ 51 h 51"/>
                <a:gd name="T14" fmla="*/ 0 w 34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43"/>
                  </a:lnTo>
                  <a:lnTo>
                    <a:pt x="34" y="43"/>
                  </a:lnTo>
                  <a:lnTo>
                    <a:pt x="34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8" name="Freeform 82"/>
            <p:cNvSpPr>
              <a:spLocks/>
            </p:cNvSpPr>
            <p:nvPr userDrawn="1"/>
          </p:nvSpPr>
          <p:spPr bwMode="auto">
            <a:xfrm>
              <a:off x="1138238" y="53498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7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9" name="Freeform 83"/>
            <p:cNvSpPr>
              <a:spLocks noEditPoints="1"/>
            </p:cNvSpPr>
            <p:nvPr userDrawn="1"/>
          </p:nvSpPr>
          <p:spPr bwMode="auto">
            <a:xfrm>
              <a:off x="1206500" y="534988"/>
              <a:ext cx="46037" cy="57150"/>
            </a:xfrm>
            <a:custGeom>
              <a:avLst/>
              <a:gdLst>
                <a:gd name="T0" fmla="*/ 15 w 42"/>
                <a:gd name="T1" fmla="*/ 7 h 51"/>
                <a:gd name="T2" fmla="*/ 15 w 42"/>
                <a:gd name="T3" fmla="*/ 7 h 51"/>
                <a:gd name="T4" fmla="*/ 10 w 42"/>
                <a:gd name="T5" fmla="*/ 7 h 51"/>
                <a:gd name="T6" fmla="*/ 10 w 42"/>
                <a:gd name="T7" fmla="*/ 44 h 51"/>
                <a:gd name="T8" fmla="*/ 15 w 42"/>
                <a:gd name="T9" fmla="*/ 44 h 51"/>
                <a:gd name="T10" fmla="*/ 32 w 42"/>
                <a:gd name="T11" fmla="*/ 25 h 51"/>
                <a:gd name="T12" fmla="*/ 15 w 42"/>
                <a:gd name="T13" fmla="*/ 7 h 51"/>
                <a:gd name="T14" fmla="*/ 15 w 42"/>
                <a:gd name="T15" fmla="*/ 7 h 51"/>
                <a:gd name="T16" fmla="*/ 16 w 42"/>
                <a:gd name="T17" fmla="*/ 51 h 51"/>
                <a:gd name="T18" fmla="*/ 16 w 42"/>
                <a:gd name="T19" fmla="*/ 51 h 51"/>
                <a:gd name="T20" fmla="*/ 0 w 42"/>
                <a:gd name="T21" fmla="*/ 51 h 51"/>
                <a:gd name="T22" fmla="*/ 0 w 42"/>
                <a:gd name="T23" fmla="*/ 0 h 51"/>
                <a:gd name="T24" fmla="*/ 16 w 42"/>
                <a:gd name="T25" fmla="*/ 0 h 51"/>
                <a:gd name="T26" fmla="*/ 42 w 42"/>
                <a:gd name="T27" fmla="*/ 25 h 51"/>
                <a:gd name="T28" fmla="*/ 16 w 42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51">
                  <a:moveTo>
                    <a:pt x="15" y="7"/>
                  </a:moveTo>
                  <a:lnTo>
                    <a:pt x="15" y="7"/>
                  </a:lnTo>
                  <a:lnTo>
                    <a:pt x="10" y="7"/>
                  </a:lnTo>
                  <a:lnTo>
                    <a:pt x="10" y="44"/>
                  </a:lnTo>
                  <a:lnTo>
                    <a:pt x="15" y="44"/>
                  </a:lnTo>
                  <a:cubicBezTo>
                    <a:pt x="26" y="44"/>
                    <a:pt x="32" y="39"/>
                    <a:pt x="32" y="25"/>
                  </a:cubicBezTo>
                  <a:cubicBezTo>
                    <a:pt x="32" y="13"/>
                    <a:pt x="26" y="7"/>
                    <a:pt x="15" y="7"/>
                  </a:cubicBezTo>
                  <a:lnTo>
                    <a:pt x="15" y="7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6" y="0"/>
                  </a:lnTo>
                  <a:cubicBezTo>
                    <a:pt x="34" y="0"/>
                    <a:pt x="42" y="10"/>
                    <a:pt x="42" y="25"/>
                  </a:cubicBezTo>
                  <a:cubicBezTo>
                    <a:pt x="42" y="42"/>
                    <a:pt x="32" y="51"/>
                    <a:pt x="16" y="51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0" name="Freeform 84"/>
            <p:cNvSpPr>
              <a:spLocks/>
            </p:cNvSpPr>
            <p:nvPr userDrawn="1"/>
          </p:nvSpPr>
          <p:spPr bwMode="auto">
            <a:xfrm>
              <a:off x="1263650" y="534988"/>
              <a:ext cx="77787" cy="57150"/>
            </a:xfrm>
            <a:custGeom>
              <a:avLst/>
              <a:gdLst>
                <a:gd name="T0" fmla="*/ 56 w 71"/>
                <a:gd name="T1" fmla="*/ 51 h 51"/>
                <a:gd name="T2" fmla="*/ 56 w 71"/>
                <a:gd name="T3" fmla="*/ 51 h 51"/>
                <a:gd name="T4" fmla="*/ 46 w 71"/>
                <a:gd name="T5" fmla="*/ 51 h 51"/>
                <a:gd name="T6" fmla="*/ 36 w 71"/>
                <a:gd name="T7" fmla="*/ 15 h 51"/>
                <a:gd name="T8" fmla="*/ 26 w 71"/>
                <a:gd name="T9" fmla="*/ 51 h 51"/>
                <a:gd name="T10" fmla="*/ 16 w 71"/>
                <a:gd name="T11" fmla="*/ 51 h 51"/>
                <a:gd name="T12" fmla="*/ 0 w 71"/>
                <a:gd name="T13" fmla="*/ 0 h 51"/>
                <a:gd name="T14" fmla="*/ 11 w 71"/>
                <a:gd name="T15" fmla="*/ 0 h 51"/>
                <a:gd name="T16" fmla="*/ 21 w 71"/>
                <a:gd name="T17" fmla="*/ 40 h 51"/>
                <a:gd name="T18" fmla="*/ 31 w 71"/>
                <a:gd name="T19" fmla="*/ 4 h 51"/>
                <a:gd name="T20" fmla="*/ 41 w 71"/>
                <a:gd name="T21" fmla="*/ 4 h 51"/>
                <a:gd name="T22" fmla="*/ 51 w 71"/>
                <a:gd name="T23" fmla="*/ 40 h 51"/>
                <a:gd name="T24" fmla="*/ 61 w 71"/>
                <a:gd name="T25" fmla="*/ 0 h 51"/>
                <a:gd name="T26" fmla="*/ 71 w 71"/>
                <a:gd name="T27" fmla="*/ 0 h 51"/>
                <a:gd name="T28" fmla="*/ 56 w 71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51">
                  <a:moveTo>
                    <a:pt x="56" y="51"/>
                  </a:moveTo>
                  <a:lnTo>
                    <a:pt x="56" y="51"/>
                  </a:lnTo>
                  <a:lnTo>
                    <a:pt x="46" y="51"/>
                  </a:lnTo>
                  <a:lnTo>
                    <a:pt x="36" y="15"/>
                  </a:lnTo>
                  <a:lnTo>
                    <a:pt x="26" y="51"/>
                  </a:lnTo>
                  <a:lnTo>
                    <a:pt x="16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1" y="40"/>
                  </a:lnTo>
                  <a:lnTo>
                    <a:pt x="31" y="4"/>
                  </a:lnTo>
                  <a:lnTo>
                    <a:pt x="41" y="4"/>
                  </a:lnTo>
                  <a:lnTo>
                    <a:pt x="51" y="40"/>
                  </a:lnTo>
                  <a:lnTo>
                    <a:pt x="61" y="0"/>
                  </a:lnTo>
                  <a:lnTo>
                    <a:pt x="71" y="0"/>
                  </a:lnTo>
                  <a:lnTo>
                    <a:pt x="56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1" name="Freeform 85"/>
            <p:cNvSpPr>
              <a:spLocks/>
            </p:cNvSpPr>
            <p:nvPr userDrawn="1"/>
          </p:nvSpPr>
          <p:spPr bwMode="auto">
            <a:xfrm>
              <a:off x="1357313" y="534988"/>
              <a:ext cx="11112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2" name="Freeform 86"/>
            <p:cNvSpPr>
              <a:spLocks/>
            </p:cNvSpPr>
            <p:nvPr userDrawn="1"/>
          </p:nvSpPr>
          <p:spPr bwMode="auto">
            <a:xfrm>
              <a:off x="1387475" y="533401"/>
              <a:ext cx="47625" cy="60325"/>
            </a:xfrm>
            <a:custGeom>
              <a:avLst/>
              <a:gdLst>
                <a:gd name="T0" fmla="*/ 24 w 43"/>
                <a:gd name="T1" fmla="*/ 53 h 53"/>
                <a:gd name="T2" fmla="*/ 24 w 43"/>
                <a:gd name="T3" fmla="*/ 53 h 53"/>
                <a:gd name="T4" fmla="*/ 0 w 43"/>
                <a:gd name="T5" fmla="*/ 26 h 53"/>
                <a:gd name="T6" fmla="*/ 24 w 43"/>
                <a:gd name="T7" fmla="*/ 0 h 53"/>
                <a:gd name="T8" fmla="*/ 42 w 43"/>
                <a:gd name="T9" fmla="*/ 6 h 53"/>
                <a:gd name="T10" fmla="*/ 38 w 43"/>
                <a:gd name="T11" fmla="*/ 13 h 53"/>
                <a:gd name="T12" fmla="*/ 24 w 43"/>
                <a:gd name="T13" fmla="*/ 7 h 53"/>
                <a:gd name="T14" fmla="*/ 9 w 43"/>
                <a:gd name="T15" fmla="*/ 26 h 53"/>
                <a:gd name="T16" fmla="*/ 25 w 43"/>
                <a:gd name="T17" fmla="*/ 46 h 53"/>
                <a:gd name="T18" fmla="*/ 34 w 43"/>
                <a:gd name="T19" fmla="*/ 44 h 53"/>
                <a:gd name="T20" fmla="*/ 34 w 43"/>
                <a:gd name="T21" fmla="*/ 31 h 53"/>
                <a:gd name="T22" fmla="*/ 23 w 43"/>
                <a:gd name="T23" fmla="*/ 31 h 53"/>
                <a:gd name="T24" fmla="*/ 23 w 43"/>
                <a:gd name="T25" fmla="*/ 24 h 53"/>
                <a:gd name="T26" fmla="*/ 43 w 43"/>
                <a:gd name="T27" fmla="*/ 24 h 53"/>
                <a:gd name="T28" fmla="*/ 43 w 43"/>
                <a:gd name="T29" fmla="*/ 48 h 53"/>
                <a:gd name="T30" fmla="*/ 24 w 43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53">
                  <a:moveTo>
                    <a:pt x="24" y="53"/>
                  </a:moveTo>
                  <a:lnTo>
                    <a:pt x="24" y="53"/>
                  </a:lnTo>
                  <a:cubicBezTo>
                    <a:pt x="9" y="53"/>
                    <a:pt x="0" y="42"/>
                    <a:pt x="0" y="26"/>
                  </a:cubicBezTo>
                  <a:cubicBezTo>
                    <a:pt x="0" y="8"/>
                    <a:pt x="13" y="0"/>
                    <a:pt x="24" y="0"/>
                  </a:cubicBezTo>
                  <a:cubicBezTo>
                    <a:pt x="33" y="0"/>
                    <a:pt x="38" y="3"/>
                    <a:pt x="42" y="6"/>
                  </a:cubicBezTo>
                  <a:lnTo>
                    <a:pt x="38" y="13"/>
                  </a:lnTo>
                  <a:cubicBezTo>
                    <a:pt x="35" y="10"/>
                    <a:pt x="31" y="7"/>
                    <a:pt x="24" y="7"/>
                  </a:cubicBezTo>
                  <a:cubicBezTo>
                    <a:pt x="16" y="7"/>
                    <a:pt x="9" y="14"/>
                    <a:pt x="9" y="26"/>
                  </a:cubicBezTo>
                  <a:cubicBezTo>
                    <a:pt x="9" y="38"/>
                    <a:pt x="16" y="46"/>
                    <a:pt x="25" y="46"/>
                  </a:cubicBezTo>
                  <a:cubicBezTo>
                    <a:pt x="30" y="46"/>
                    <a:pt x="33" y="45"/>
                    <a:pt x="34" y="44"/>
                  </a:cubicBezTo>
                  <a:lnTo>
                    <a:pt x="34" y="31"/>
                  </a:lnTo>
                  <a:lnTo>
                    <a:pt x="23" y="31"/>
                  </a:lnTo>
                  <a:lnTo>
                    <a:pt x="23" y="24"/>
                  </a:lnTo>
                  <a:lnTo>
                    <a:pt x="43" y="24"/>
                  </a:lnTo>
                  <a:lnTo>
                    <a:pt x="43" y="48"/>
                  </a:lnTo>
                  <a:cubicBezTo>
                    <a:pt x="39" y="51"/>
                    <a:pt x="33" y="53"/>
                    <a:pt x="24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3" name="Freeform 87"/>
            <p:cNvSpPr>
              <a:spLocks/>
            </p:cNvSpPr>
            <p:nvPr userDrawn="1"/>
          </p:nvSpPr>
          <p:spPr bwMode="auto">
            <a:xfrm>
              <a:off x="1449388" y="561976"/>
              <a:ext cx="22225" cy="7938"/>
            </a:xfrm>
            <a:custGeom>
              <a:avLst/>
              <a:gdLst>
                <a:gd name="T0" fmla="*/ 0 w 20"/>
                <a:gd name="T1" fmla="*/ 0 h 6"/>
                <a:gd name="T2" fmla="*/ 0 w 20"/>
                <a:gd name="T3" fmla="*/ 0 h 6"/>
                <a:gd name="T4" fmla="*/ 20 w 20"/>
                <a:gd name="T5" fmla="*/ 0 h 6"/>
                <a:gd name="T6" fmla="*/ 20 w 20"/>
                <a:gd name="T7" fmla="*/ 6 h 6"/>
                <a:gd name="T8" fmla="*/ 0 w 20"/>
                <a:gd name="T9" fmla="*/ 6 h 6"/>
                <a:gd name="T10" fmla="*/ 0 w 2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4" name="Freeform 88"/>
            <p:cNvSpPr>
              <a:spLocks/>
            </p:cNvSpPr>
            <p:nvPr userDrawn="1"/>
          </p:nvSpPr>
          <p:spPr bwMode="auto">
            <a:xfrm>
              <a:off x="1084263" y="639763"/>
              <a:ext cx="61912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5" name="Freeform 89"/>
            <p:cNvSpPr>
              <a:spLocks noEditPoints="1"/>
            </p:cNvSpPr>
            <p:nvPr userDrawn="1"/>
          </p:nvSpPr>
          <p:spPr bwMode="auto">
            <a:xfrm>
              <a:off x="1160463" y="639763"/>
              <a:ext cx="55562" cy="57150"/>
            </a:xfrm>
            <a:custGeom>
              <a:avLst/>
              <a:gdLst>
                <a:gd name="T0" fmla="*/ 25 w 50"/>
                <a:gd name="T1" fmla="*/ 10 h 51"/>
                <a:gd name="T2" fmla="*/ 25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5 w 50"/>
                <a:gd name="T9" fmla="*/ 10 h 51"/>
                <a:gd name="T10" fmla="*/ 25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5" y="10"/>
                  </a:moveTo>
                  <a:lnTo>
                    <a:pt x="25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5" y="10"/>
                  </a:lnTo>
                  <a:lnTo>
                    <a:pt x="25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6" name="Freeform 90"/>
            <p:cNvSpPr>
              <a:spLocks/>
            </p:cNvSpPr>
            <p:nvPr userDrawn="1"/>
          </p:nvSpPr>
          <p:spPr bwMode="auto">
            <a:xfrm>
              <a:off x="1223963" y="639763"/>
              <a:ext cx="57150" cy="57150"/>
            </a:xfrm>
            <a:custGeom>
              <a:avLst/>
              <a:gdLst>
                <a:gd name="T0" fmla="*/ 39 w 51"/>
                <a:gd name="T1" fmla="*/ 51 h 51"/>
                <a:gd name="T2" fmla="*/ 39 w 51"/>
                <a:gd name="T3" fmla="*/ 51 h 51"/>
                <a:gd name="T4" fmla="*/ 25 w 51"/>
                <a:gd name="T5" fmla="*/ 31 h 51"/>
                <a:gd name="T6" fmla="*/ 11 w 51"/>
                <a:gd name="T7" fmla="*/ 51 h 51"/>
                <a:gd name="T8" fmla="*/ 0 w 51"/>
                <a:gd name="T9" fmla="*/ 51 h 51"/>
                <a:gd name="T10" fmla="*/ 19 w 51"/>
                <a:gd name="T11" fmla="*/ 25 h 51"/>
                <a:gd name="T12" fmla="*/ 1 w 51"/>
                <a:gd name="T13" fmla="*/ 0 h 51"/>
                <a:gd name="T14" fmla="*/ 13 w 51"/>
                <a:gd name="T15" fmla="*/ 0 h 51"/>
                <a:gd name="T16" fmla="*/ 26 w 51"/>
                <a:gd name="T17" fmla="*/ 19 h 51"/>
                <a:gd name="T18" fmla="*/ 38 w 51"/>
                <a:gd name="T19" fmla="*/ 0 h 51"/>
                <a:gd name="T20" fmla="*/ 49 w 51"/>
                <a:gd name="T21" fmla="*/ 0 h 51"/>
                <a:gd name="T22" fmla="*/ 31 w 51"/>
                <a:gd name="T23" fmla="*/ 25 h 51"/>
                <a:gd name="T24" fmla="*/ 51 w 51"/>
                <a:gd name="T25" fmla="*/ 51 h 51"/>
                <a:gd name="T26" fmla="*/ 39 w 5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51">
                  <a:moveTo>
                    <a:pt x="39" y="51"/>
                  </a:moveTo>
                  <a:lnTo>
                    <a:pt x="39" y="51"/>
                  </a:lnTo>
                  <a:lnTo>
                    <a:pt x="25" y="31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9" y="25"/>
                  </a:lnTo>
                  <a:lnTo>
                    <a:pt x="1" y="0"/>
                  </a:lnTo>
                  <a:lnTo>
                    <a:pt x="13" y="0"/>
                  </a:lnTo>
                  <a:lnTo>
                    <a:pt x="26" y="19"/>
                  </a:lnTo>
                  <a:lnTo>
                    <a:pt x="38" y="0"/>
                  </a:lnTo>
                  <a:lnTo>
                    <a:pt x="49" y="0"/>
                  </a:lnTo>
                  <a:lnTo>
                    <a:pt x="31" y="25"/>
                  </a:lnTo>
                  <a:lnTo>
                    <a:pt x="51" y="51"/>
                  </a:lnTo>
                  <a:lnTo>
                    <a:pt x="39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7" name="Freeform 91"/>
            <p:cNvSpPr>
              <a:spLocks/>
            </p:cNvSpPr>
            <p:nvPr userDrawn="1"/>
          </p:nvSpPr>
          <p:spPr bwMode="auto">
            <a:xfrm>
              <a:off x="1296988" y="639763"/>
              <a:ext cx="9525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8" name="Freeform 92"/>
            <p:cNvSpPr>
              <a:spLocks/>
            </p:cNvSpPr>
            <p:nvPr userDrawn="1"/>
          </p:nvSpPr>
          <p:spPr bwMode="auto">
            <a:xfrm>
              <a:off x="1327150" y="639763"/>
              <a:ext cx="63500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9" name="Freeform 93"/>
            <p:cNvSpPr>
              <a:spLocks/>
            </p:cNvSpPr>
            <p:nvPr userDrawn="1"/>
          </p:nvSpPr>
          <p:spPr bwMode="auto">
            <a:xfrm>
              <a:off x="14112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0" name="Freeform 94"/>
            <p:cNvSpPr>
              <a:spLocks/>
            </p:cNvSpPr>
            <p:nvPr userDrawn="1"/>
          </p:nvSpPr>
          <p:spPr bwMode="auto">
            <a:xfrm>
              <a:off x="1444625" y="639763"/>
              <a:ext cx="38100" cy="57150"/>
            </a:xfrm>
            <a:custGeom>
              <a:avLst/>
              <a:gdLst>
                <a:gd name="T0" fmla="*/ 35 w 35"/>
                <a:gd name="T1" fmla="*/ 51 h 51"/>
                <a:gd name="T2" fmla="*/ 35 w 35"/>
                <a:gd name="T3" fmla="*/ 51 h 51"/>
                <a:gd name="T4" fmla="*/ 35 w 35"/>
                <a:gd name="T5" fmla="*/ 44 h 51"/>
                <a:gd name="T6" fmla="*/ 10 w 35"/>
                <a:gd name="T7" fmla="*/ 44 h 51"/>
                <a:gd name="T8" fmla="*/ 10 w 35"/>
                <a:gd name="T9" fmla="*/ 0 h 51"/>
                <a:gd name="T10" fmla="*/ 0 w 35"/>
                <a:gd name="T11" fmla="*/ 0 h 51"/>
                <a:gd name="T12" fmla="*/ 0 w 35"/>
                <a:gd name="T13" fmla="*/ 51 h 51"/>
                <a:gd name="T14" fmla="*/ 35 w 35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1">
                  <a:moveTo>
                    <a:pt x="35" y="51"/>
                  </a:moveTo>
                  <a:lnTo>
                    <a:pt x="35" y="51"/>
                  </a:lnTo>
                  <a:lnTo>
                    <a:pt x="35" y="44"/>
                  </a:lnTo>
                  <a:lnTo>
                    <a:pt x="10" y="44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51"/>
                  </a:lnTo>
                  <a:lnTo>
                    <a:pt x="35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1" name="Freeform 95"/>
            <p:cNvSpPr>
              <a:spLocks/>
            </p:cNvSpPr>
            <p:nvPr userDrawn="1"/>
          </p:nvSpPr>
          <p:spPr bwMode="auto">
            <a:xfrm>
              <a:off x="15001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2" name="Freeform 96"/>
            <p:cNvSpPr>
              <a:spLocks noEditPoints="1"/>
            </p:cNvSpPr>
            <p:nvPr userDrawn="1"/>
          </p:nvSpPr>
          <p:spPr bwMode="auto">
            <a:xfrm>
              <a:off x="1527175" y="639763"/>
              <a:ext cx="53975" cy="57150"/>
            </a:xfrm>
            <a:custGeom>
              <a:avLst/>
              <a:gdLst>
                <a:gd name="T0" fmla="*/ 24 w 50"/>
                <a:gd name="T1" fmla="*/ 10 h 51"/>
                <a:gd name="T2" fmla="*/ 24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4 w 50"/>
                <a:gd name="T9" fmla="*/ 10 h 51"/>
                <a:gd name="T10" fmla="*/ 24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4" y="10"/>
                  </a:moveTo>
                  <a:lnTo>
                    <a:pt x="24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4" y="10"/>
                  </a:lnTo>
                  <a:lnTo>
                    <a:pt x="24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3" name="Freeform 97"/>
            <p:cNvSpPr>
              <a:spLocks/>
            </p:cNvSpPr>
            <p:nvPr userDrawn="1"/>
          </p:nvSpPr>
          <p:spPr bwMode="auto">
            <a:xfrm>
              <a:off x="1597025" y="639763"/>
              <a:ext cx="47625" cy="57150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4" name="Freeform 98"/>
            <p:cNvSpPr>
              <a:spLocks/>
            </p:cNvSpPr>
            <p:nvPr userDrawn="1"/>
          </p:nvSpPr>
          <p:spPr bwMode="auto">
            <a:xfrm>
              <a:off x="1662113" y="638176"/>
              <a:ext cx="42862" cy="60325"/>
            </a:xfrm>
            <a:custGeom>
              <a:avLst/>
              <a:gdLst>
                <a:gd name="T0" fmla="*/ 38 w 38"/>
                <a:gd name="T1" fmla="*/ 38 h 53"/>
                <a:gd name="T2" fmla="*/ 38 w 38"/>
                <a:gd name="T3" fmla="*/ 38 h 53"/>
                <a:gd name="T4" fmla="*/ 28 w 38"/>
                <a:gd name="T5" fmla="*/ 24 h 53"/>
                <a:gd name="T6" fmla="*/ 18 w 38"/>
                <a:gd name="T7" fmla="*/ 20 h 53"/>
                <a:gd name="T8" fmla="*/ 11 w 38"/>
                <a:gd name="T9" fmla="*/ 13 h 53"/>
                <a:gd name="T10" fmla="*/ 19 w 38"/>
                <a:gd name="T11" fmla="*/ 7 h 53"/>
                <a:gd name="T12" fmla="*/ 32 w 38"/>
                <a:gd name="T13" fmla="*/ 14 h 53"/>
                <a:gd name="T14" fmla="*/ 36 w 38"/>
                <a:gd name="T15" fmla="*/ 7 h 53"/>
                <a:gd name="T16" fmla="*/ 19 w 38"/>
                <a:gd name="T17" fmla="*/ 0 h 53"/>
                <a:gd name="T18" fmla="*/ 1 w 38"/>
                <a:gd name="T19" fmla="*/ 15 h 53"/>
                <a:gd name="T20" fmla="*/ 11 w 38"/>
                <a:gd name="T21" fmla="*/ 28 h 53"/>
                <a:gd name="T22" fmla="*/ 21 w 38"/>
                <a:gd name="T23" fmla="*/ 32 h 53"/>
                <a:gd name="T24" fmla="*/ 28 w 38"/>
                <a:gd name="T25" fmla="*/ 39 h 53"/>
                <a:gd name="T26" fmla="*/ 19 w 38"/>
                <a:gd name="T27" fmla="*/ 46 h 53"/>
                <a:gd name="T28" fmla="*/ 4 w 38"/>
                <a:gd name="T29" fmla="*/ 39 h 53"/>
                <a:gd name="T30" fmla="*/ 0 w 38"/>
                <a:gd name="T31" fmla="*/ 46 h 53"/>
                <a:gd name="T32" fmla="*/ 19 w 38"/>
                <a:gd name="T33" fmla="*/ 53 h 53"/>
                <a:gd name="T34" fmla="*/ 38 w 38"/>
                <a:gd name="T3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38" y="38"/>
                  </a:moveTo>
                  <a:lnTo>
                    <a:pt x="38" y="38"/>
                  </a:lnTo>
                  <a:cubicBezTo>
                    <a:pt x="38" y="30"/>
                    <a:pt x="33" y="27"/>
                    <a:pt x="28" y="24"/>
                  </a:cubicBezTo>
                  <a:lnTo>
                    <a:pt x="18" y="20"/>
                  </a:lnTo>
                  <a:cubicBezTo>
                    <a:pt x="14" y="19"/>
                    <a:pt x="11" y="17"/>
                    <a:pt x="11" y="13"/>
                  </a:cubicBezTo>
                  <a:cubicBezTo>
                    <a:pt x="11" y="10"/>
                    <a:pt x="14" y="7"/>
                    <a:pt x="19" y="7"/>
                  </a:cubicBezTo>
                  <a:cubicBezTo>
                    <a:pt x="26" y="7"/>
                    <a:pt x="29" y="10"/>
                    <a:pt x="32" y="14"/>
                  </a:cubicBezTo>
                  <a:lnTo>
                    <a:pt x="36" y="7"/>
                  </a:lnTo>
                  <a:cubicBezTo>
                    <a:pt x="32" y="3"/>
                    <a:pt x="26" y="0"/>
                    <a:pt x="19" y="0"/>
                  </a:cubicBezTo>
                  <a:cubicBezTo>
                    <a:pt x="11" y="0"/>
                    <a:pt x="1" y="5"/>
                    <a:pt x="1" y="15"/>
                  </a:cubicBezTo>
                  <a:cubicBezTo>
                    <a:pt x="1" y="21"/>
                    <a:pt x="6" y="25"/>
                    <a:pt x="11" y="28"/>
                  </a:cubicBezTo>
                  <a:lnTo>
                    <a:pt x="21" y="32"/>
                  </a:lnTo>
                  <a:cubicBezTo>
                    <a:pt x="25" y="34"/>
                    <a:pt x="28" y="36"/>
                    <a:pt x="28" y="39"/>
                  </a:cubicBezTo>
                  <a:cubicBezTo>
                    <a:pt x="28" y="43"/>
                    <a:pt x="25" y="46"/>
                    <a:pt x="19" y="46"/>
                  </a:cubicBezTo>
                  <a:cubicBezTo>
                    <a:pt x="12" y="46"/>
                    <a:pt x="8" y="44"/>
                    <a:pt x="4" y="39"/>
                  </a:cubicBezTo>
                  <a:lnTo>
                    <a:pt x="0" y="46"/>
                  </a:lnTo>
                  <a:cubicBezTo>
                    <a:pt x="3" y="49"/>
                    <a:pt x="8" y="53"/>
                    <a:pt x="19" y="53"/>
                  </a:cubicBezTo>
                  <a:cubicBezTo>
                    <a:pt x="34" y="53"/>
                    <a:pt x="38" y="43"/>
                    <a:pt x="38" y="38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5" name="Freeform 99"/>
            <p:cNvSpPr>
              <a:spLocks/>
            </p:cNvSpPr>
            <p:nvPr userDrawn="1"/>
          </p:nvSpPr>
          <p:spPr bwMode="auto">
            <a:xfrm>
              <a:off x="1717675" y="666751"/>
              <a:ext cx="22225" cy="7938"/>
            </a:xfrm>
            <a:custGeom>
              <a:avLst/>
              <a:gdLst>
                <a:gd name="T0" fmla="*/ 0 w 20"/>
                <a:gd name="T1" fmla="*/ 0 h 7"/>
                <a:gd name="T2" fmla="*/ 0 w 20"/>
                <a:gd name="T3" fmla="*/ 0 h 7"/>
                <a:gd name="T4" fmla="*/ 20 w 20"/>
                <a:gd name="T5" fmla="*/ 0 h 7"/>
                <a:gd name="T6" fmla="*/ 20 w 20"/>
                <a:gd name="T7" fmla="*/ 7 h 7"/>
                <a:gd name="T8" fmla="*/ 0 w 20"/>
                <a:gd name="T9" fmla="*/ 7 h 7"/>
                <a:gd name="T10" fmla="*/ 0 w 2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7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6" name="Freeform 100"/>
            <p:cNvSpPr>
              <a:spLocks/>
            </p:cNvSpPr>
            <p:nvPr userDrawn="1"/>
          </p:nvSpPr>
          <p:spPr bwMode="auto">
            <a:xfrm>
              <a:off x="1084263" y="74453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6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7" name="Freeform 101"/>
            <p:cNvSpPr>
              <a:spLocks/>
            </p:cNvSpPr>
            <p:nvPr userDrawn="1"/>
          </p:nvSpPr>
          <p:spPr bwMode="auto">
            <a:xfrm>
              <a:off x="1152525" y="744538"/>
              <a:ext cx="47625" cy="58738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3 w 43"/>
                <a:gd name="T15" fmla="*/ 38 h 51"/>
                <a:gd name="T16" fmla="*/ 33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3" y="38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8" name="Freeform 102"/>
            <p:cNvSpPr>
              <a:spLocks/>
            </p:cNvSpPr>
            <p:nvPr userDrawn="1"/>
          </p:nvSpPr>
          <p:spPr bwMode="auto">
            <a:xfrm>
              <a:off x="1222375" y="744538"/>
              <a:ext cx="11112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9" name="Freeform 103"/>
            <p:cNvSpPr>
              <a:spLocks/>
            </p:cNvSpPr>
            <p:nvPr userDrawn="1"/>
          </p:nvSpPr>
          <p:spPr bwMode="auto">
            <a:xfrm>
              <a:off x="1246188" y="744538"/>
              <a:ext cx="57150" cy="58738"/>
            </a:xfrm>
            <a:custGeom>
              <a:avLst/>
              <a:gdLst>
                <a:gd name="T0" fmla="*/ 31 w 51"/>
                <a:gd name="T1" fmla="*/ 51 h 51"/>
                <a:gd name="T2" fmla="*/ 31 w 51"/>
                <a:gd name="T3" fmla="*/ 51 h 51"/>
                <a:gd name="T4" fmla="*/ 20 w 51"/>
                <a:gd name="T5" fmla="*/ 51 h 51"/>
                <a:gd name="T6" fmla="*/ 0 w 51"/>
                <a:gd name="T7" fmla="*/ 0 h 51"/>
                <a:gd name="T8" fmla="*/ 11 w 51"/>
                <a:gd name="T9" fmla="*/ 0 h 51"/>
                <a:gd name="T10" fmla="*/ 26 w 51"/>
                <a:gd name="T11" fmla="*/ 41 h 51"/>
                <a:gd name="T12" fmla="*/ 41 w 51"/>
                <a:gd name="T13" fmla="*/ 0 h 51"/>
                <a:gd name="T14" fmla="*/ 51 w 51"/>
                <a:gd name="T15" fmla="*/ 0 h 51"/>
                <a:gd name="T16" fmla="*/ 31 w 51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31" y="51"/>
                  </a:moveTo>
                  <a:lnTo>
                    <a:pt x="31" y="51"/>
                  </a:lnTo>
                  <a:lnTo>
                    <a:pt x="20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6" y="41"/>
                  </a:lnTo>
                  <a:lnTo>
                    <a:pt x="41" y="0"/>
                  </a:lnTo>
                  <a:lnTo>
                    <a:pt x="51" y="0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0" name="Freeform 104"/>
            <p:cNvSpPr>
              <a:spLocks/>
            </p:cNvSpPr>
            <p:nvPr userDrawn="1"/>
          </p:nvSpPr>
          <p:spPr bwMode="auto">
            <a:xfrm>
              <a:off x="1317625" y="744538"/>
              <a:ext cx="39687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7 h 51"/>
                <a:gd name="T10" fmla="*/ 9 w 35"/>
                <a:gd name="T11" fmla="*/ 7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7"/>
                  </a:lnTo>
                  <a:lnTo>
                    <a:pt x="9" y="7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1" name="Freeform 105"/>
            <p:cNvSpPr>
              <a:spLocks noEditPoints="1"/>
            </p:cNvSpPr>
            <p:nvPr userDrawn="1"/>
          </p:nvSpPr>
          <p:spPr bwMode="auto">
            <a:xfrm>
              <a:off x="1374775" y="744538"/>
              <a:ext cx="44450" cy="58738"/>
            </a:xfrm>
            <a:custGeom>
              <a:avLst/>
              <a:gdLst>
                <a:gd name="T0" fmla="*/ 18 w 41"/>
                <a:gd name="T1" fmla="*/ 7 h 51"/>
                <a:gd name="T2" fmla="*/ 18 w 41"/>
                <a:gd name="T3" fmla="*/ 7 h 51"/>
                <a:gd name="T4" fmla="*/ 10 w 41"/>
                <a:gd name="T5" fmla="*/ 7 h 51"/>
                <a:gd name="T6" fmla="*/ 10 w 41"/>
                <a:gd name="T7" fmla="*/ 22 h 51"/>
                <a:gd name="T8" fmla="*/ 18 w 41"/>
                <a:gd name="T9" fmla="*/ 22 h 51"/>
                <a:gd name="T10" fmla="*/ 27 w 41"/>
                <a:gd name="T11" fmla="*/ 14 h 51"/>
                <a:gd name="T12" fmla="*/ 18 w 41"/>
                <a:gd name="T13" fmla="*/ 7 h 51"/>
                <a:gd name="T14" fmla="*/ 18 w 41"/>
                <a:gd name="T15" fmla="*/ 7 h 51"/>
                <a:gd name="T16" fmla="*/ 30 w 41"/>
                <a:gd name="T17" fmla="*/ 51 h 51"/>
                <a:gd name="T18" fmla="*/ 30 w 41"/>
                <a:gd name="T19" fmla="*/ 51 h 51"/>
                <a:gd name="T20" fmla="*/ 20 w 41"/>
                <a:gd name="T21" fmla="*/ 35 h 51"/>
                <a:gd name="T22" fmla="*/ 12 w 41"/>
                <a:gd name="T23" fmla="*/ 29 h 51"/>
                <a:gd name="T24" fmla="*/ 10 w 41"/>
                <a:gd name="T25" fmla="*/ 29 h 51"/>
                <a:gd name="T26" fmla="*/ 10 w 41"/>
                <a:gd name="T27" fmla="*/ 51 h 51"/>
                <a:gd name="T28" fmla="*/ 0 w 41"/>
                <a:gd name="T29" fmla="*/ 51 h 51"/>
                <a:gd name="T30" fmla="*/ 0 w 41"/>
                <a:gd name="T31" fmla="*/ 0 h 51"/>
                <a:gd name="T32" fmla="*/ 20 w 41"/>
                <a:gd name="T33" fmla="*/ 0 h 51"/>
                <a:gd name="T34" fmla="*/ 37 w 41"/>
                <a:gd name="T35" fmla="*/ 14 h 51"/>
                <a:gd name="T36" fmla="*/ 24 w 41"/>
                <a:gd name="T37" fmla="*/ 28 h 51"/>
                <a:gd name="T38" fmla="*/ 28 w 41"/>
                <a:gd name="T39" fmla="*/ 32 h 51"/>
                <a:gd name="T40" fmla="*/ 41 w 41"/>
                <a:gd name="T41" fmla="*/ 51 h 51"/>
                <a:gd name="T42" fmla="*/ 30 w 41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1">
                  <a:moveTo>
                    <a:pt x="18" y="7"/>
                  </a:moveTo>
                  <a:lnTo>
                    <a:pt x="18" y="7"/>
                  </a:lnTo>
                  <a:lnTo>
                    <a:pt x="10" y="7"/>
                  </a:lnTo>
                  <a:lnTo>
                    <a:pt x="10" y="22"/>
                  </a:lnTo>
                  <a:lnTo>
                    <a:pt x="18" y="22"/>
                  </a:lnTo>
                  <a:cubicBezTo>
                    <a:pt x="25" y="22"/>
                    <a:pt x="27" y="18"/>
                    <a:pt x="27" y="14"/>
                  </a:cubicBezTo>
                  <a:cubicBezTo>
                    <a:pt x="27" y="10"/>
                    <a:pt x="24" y="7"/>
                    <a:pt x="18" y="7"/>
                  </a:cubicBezTo>
                  <a:lnTo>
                    <a:pt x="18" y="7"/>
                  </a:lnTo>
                  <a:close/>
                  <a:moveTo>
                    <a:pt x="30" y="51"/>
                  </a:moveTo>
                  <a:lnTo>
                    <a:pt x="30" y="51"/>
                  </a:lnTo>
                  <a:lnTo>
                    <a:pt x="20" y="35"/>
                  </a:lnTo>
                  <a:cubicBezTo>
                    <a:pt x="17" y="31"/>
                    <a:pt x="15" y="29"/>
                    <a:pt x="12" y="29"/>
                  </a:cubicBezTo>
                  <a:lnTo>
                    <a:pt x="10" y="2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20" y="0"/>
                  </a:lnTo>
                  <a:cubicBezTo>
                    <a:pt x="29" y="0"/>
                    <a:pt x="37" y="4"/>
                    <a:pt x="37" y="14"/>
                  </a:cubicBezTo>
                  <a:cubicBezTo>
                    <a:pt x="37" y="24"/>
                    <a:pt x="28" y="27"/>
                    <a:pt x="24" y="28"/>
                  </a:cubicBezTo>
                  <a:cubicBezTo>
                    <a:pt x="25" y="29"/>
                    <a:pt x="27" y="31"/>
                    <a:pt x="28" y="32"/>
                  </a:cubicBezTo>
                  <a:lnTo>
                    <a:pt x="41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2" name="Freeform 106"/>
            <p:cNvSpPr>
              <a:spLocks/>
            </p:cNvSpPr>
            <p:nvPr userDrawn="1"/>
          </p:nvSpPr>
          <p:spPr bwMode="auto">
            <a:xfrm>
              <a:off x="1430338" y="744538"/>
              <a:ext cx="42862" cy="58738"/>
            </a:xfrm>
            <a:custGeom>
              <a:avLst/>
              <a:gdLst>
                <a:gd name="T0" fmla="*/ 18 w 38"/>
                <a:gd name="T1" fmla="*/ 53 h 53"/>
                <a:gd name="T2" fmla="*/ 18 w 38"/>
                <a:gd name="T3" fmla="*/ 53 h 53"/>
                <a:gd name="T4" fmla="*/ 0 w 38"/>
                <a:gd name="T5" fmla="*/ 45 h 53"/>
                <a:gd name="T6" fmla="*/ 4 w 38"/>
                <a:gd name="T7" fmla="*/ 39 h 53"/>
                <a:gd name="T8" fmla="*/ 19 w 38"/>
                <a:gd name="T9" fmla="*/ 46 h 53"/>
                <a:gd name="T10" fmla="*/ 28 w 38"/>
                <a:gd name="T11" fmla="*/ 39 h 53"/>
                <a:gd name="T12" fmla="*/ 21 w 38"/>
                <a:gd name="T13" fmla="*/ 31 h 53"/>
                <a:gd name="T14" fmla="*/ 11 w 38"/>
                <a:gd name="T15" fmla="*/ 27 h 53"/>
                <a:gd name="T16" fmla="*/ 1 w 38"/>
                <a:gd name="T17" fmla="*/ 14 h 53"/>
                <a:gd name="T18" fmla="*/ 19 w 38"/>
                <a:gd name="T19" fmla="*/ 0 h 53"/>
                <a:gd name="T20" fmla="*/ 36 w 38"/>
                <a:gd name="T21" fmla="*/ 7 h 53"/>
                <a:gd name="T22" fmla="*/ 32 w 38"/>
                <a:gd name="T23" fmla="*/ 13 h 53"/>
                <a:gd name="T24" fmla="*/ 19 w 38"/>
                <a:gd name="T25" fmla="*/ 7 h 53"/>
                <a:gd name="T26" fmla="*/ 11 w 38"/>
                <a:gd name="T27" fmla="*/ 13 h 53"/>
                <a:gd name="T28" fmla="*/ 17 w 38"/>
                <a:gd name="T29" fmla="*/ 19 h 53"/>
                <a:gd name="T30" fmla="*/ 28 w 38"/>
                <a:gd name="T31" fmla="*/ 24 h 53"/>
                <a:gd name="T32" fmla="*/ 38 w 38"/>
                <a:gd name="T33" fmla="*/ 38 h 53"/>
                <a:gd name="T34" fmla="*/ 18 w 38"/>
                <a:gd name="T3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18" y="53"/>
                  </a:moveTo>
                  <a:lnTo>
                    <a:pt x="18" y="53"/>
                  </a:lnTo>
                  <a:cubicBezTo>
                    <a:pt x="8" y="53"/>
                    <a:pt x="3" y="48"/>
                    <a:pt x="0" y="45"/>
                  </a:cubicBezTo>
                  <a:lnTo>
                    <a:pt x="4" y="39"/>
                  </a:lnTo>
                  <a:cubicBezTo>
                    <a:pt x="8" y="43"/>
                    <a:pt x="12" y="46"/>
                    <a:pt x="19" y="46"/>
                  </a:cubicBezTo>
                  <a:cubicBezTo>
                    <a:pt x="25" y="46"/>
                    <a:pt x="28" y="42"/>
                    <a:pt x="28" y="39"/>
                  </a:cubicBezTo>
                  <a:cubicBezTo>
                    <a:pt x="28" y="35"/>
                    <a:pt x="25" y="33"/>
                    <a:pt x="21" y="31"/>
                  </a:cubicBezTo>
                  <a:lnTo>
                    <a:pt x="11" y="27"/>
                  </a:lnTo>
                  <a:cubicBezTo>
                    <a:pt x="6" y="25"/>
                    <a:pt x="1" y="21"/>
                    <a:pt x="1" y="14"/>
                  </a:cubicBezTo>
                  <a:cubicBezTo>
                    <a:pt x="1" y="5"/>
                    <a:pt x="11" y="0"/>
                    <a:pt x="19" y="0"/>
                  </a:cubicBezTo>
                  <a:cubicBezTo>
                    <a:pt x="26" y="0"/>
                    <a:pt x="32" y="2"/>
                    <a:pt x="36" y="7"/>
                  </a:cubicBezTo>
                  <a:lnTo>
                    <a:pt x="32" y="13"/>
                  </a:lnTo>
                  <a:cubicBezTo>
                    <a:pt x="29" y="9"/>
                    <a:pt x="26" y="7"/>
                    <a:pt x="19" y="7"/>
                  </a:cubicBezTo>
                  <a:cubicBezTo>
                    <a:pt x="14" y="7"/>
                    <a:pt x="11" y="10"/>
                    <a:pt x="11" y="13"/>
                  </a:cubicBezTo>
                  <a:cubicBezTo>
                    <a:pt x="11" y="16"/>
                    <a:pt x="14" y="18"/>
                    <a:pt x="17" y="19"/>
                  </a:cubicBezTo>
                  <a:lnTo>
                    <a:pt x="28" y="24"/>
                  </a:lnTo>
                  <a:cubicBezTo>
                    <a:pt x="33" y="26"/>
                    <a:pt x="38" y="30"/>
                    <a:pt x="38" y="38"/>
                  </a:cubicBezTo>
                  <a:cubicBezTo>
                    <a:pt x="38" y="43"/>
                    <a:pt x="34" y="53"/>
                    <a:pt x="18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3" name="Freeform 107"/>
            <p:cNvSpPr>
              <a:spLocks/>
            </p:cNvSpPr>
            <p:nvPr userDrawn="1"/>
          </p:nvSpPr>
          <p:spPr bwMode="auto">
            <a:xfrm>
              <a:off x="1492250" y="744538"/>
              <a:ext cx="9525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4" name="Freeform 108"/>
            <p:cNvSpPr>
              <a:spLocks/>
            </p:cNvSpPr>
            <p:nvPr userDrawn="1"/>
          </p:nvSpPr>
          <p:spPr bwMode="auto">
            <a:xfrm>
              <a:off x="1517650" y="744538"/>
              <a:ext cx="49212" cy="58738"/>
            </a:xfrm>
            <a:custGeom>
              <a:avLst/>
              <a:gdLst>
                <a:gd name="T0" fmla="*/ 26 w 44"/>
                <a:gd name="T1" fmla="*/ 7 h 51"/>
                <a:gd name="T2" fmla="*/ 26 w 44"/>
                <a:gd name="T3" fmla="*/ 7 h 51"/>
                <a:gd name="T4" fmla="*/ 26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6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6" y="7"/>
                  </a:moveTo>
                  <a:lnTo>
                    <a:pt x="26" y="7"/>
                  </a:lnTo>
                  <a:lnTo>
                    <a:pt x="26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6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5" name="Freeform 109"/>
            <p:cNvSpPr>
              <a:spLocks noEditPoints="1"/>
            </p:cNvSpPr>
            <p:nvPr userDrawn="1"/>
          </p:nvSpPr>
          <p:spPr bwMode="auto">
            <a:xfrm>
              <a:off x="1574800" y="728663"/>
              <a:ext cx="55562" cy="74613"/>
            </a:xfrm>
            <a:custGeom>
              <a:avLst/>
              <a:gdLst>
                <a:gd name="T0" fmla="*/ 32 w 51"/>
                <a:gd name="T1" fmla="*/ 10 h 66"/>
                <a:gd name="T2" fmla="*/ 32 w 51"/>
                <a:gd name="T3" fmla="*/ 10 h 66"/>
                <a:gd name="T4" fmla="*/ 27 w 51"/>
                <a:gd name="T5" fmla="*/ 5 h 66"/>
                <a:gd name="T6" fmla="*/ 32 w 51"/>
                <a:gd name="T7" fmla="*/ 0 h 66"/>
                <a:gd name="T8" fmla="*/ 37 w 51"/>
                <a:gd name="T9" fmla="*/ 5 h 66"/>
                <a:gd name="T10" fmla="*/ 32 w 51"/>
                <a:gd name="T11" fmla="*/ 10 h 66"/>
                <a:gd name="T12" fmla="*/ 32 w 51"/>
                <a:gd name="T13" fmla="*/ 10 h 66"/>
                <a:gd name="T14" fmla="*/ 25 w 51"/>
                <a:gd name="T15" fmla="*/ 24 h 66"/>
                <a:gd name="T16" fmla="*/ 25 w 51"/>
                <a:gd name="T17" fmla="*/ 24 h 66"/>
                <a:gd name="T18" fmla="*/ 17 w 51"/>
                <a:gd name="T19" fmla="*/ 46 h 66"/>
                <a:gd name="T20" fmla="*/ 33 w 51"/>
                <a:gd name="T21" fmla="*/ 46 h 66"/>
                <a:gd name="T22" fmla="*/ 25 w 51"/>
                <a:gd name="T23" fmla="*/ 24 h 66"/>
                <a:gd name="T24" fmla="*/ 25 w 51"/>
                <a:gd name="T25" fmla="*/ 24 h 66"/>
                <a:gd name="T26" fmla="*/ 18 w 51"/>
                <a:gd name="T27" fmla="*/ 10 h 66"/>
                <a:gd name="T28" fmla="*/ 18 w 51"/>
                <a:gd name="T29" fmla="*/ 10 h 66"/>
                <a:gd name="T30" fmla="*/ 13 w 51"/>
                <a:gd name="T31" fmla="*/ 5 h 66"/>
                <a:gd name="T32" fmla="*/ 18 w 51"/>
                <a:gd name="T33" fmla="*/ 0 h 66"/>
                <a:gd name="T34" fmla="*/ 23 w 51"/>
                <a:gd name="T35" fmla="*/ 5 h 66"/>
                <a:gd name="T36" fmla="*/ 18 w 51"/>
                <a:gd name="T37" fmla="*/ 10 h 66"/>
                <a:gd name="T38" fmla="*/ 18 w 51"/>
                <a:gd name="T39" fmla="*/ 10 h 66"/>
                <a:gd name="T40" fmla="*/ 40 w 51"/>
                <a:gd name="T41" fmla="*/ 66 h 66"/>
                <a:gd name="T42" fmla="*/ 40 w 51"/>
                <a:gd name="T43" fmla="*/ 66 h 66"/>
                <a:gd name="T44" fmla="*/ 36 w 51"/>
                <a:gd name="T45" fmla="*/ 53 h 66"/>
                <a:gd name="T46" fmla="*/ 15 w 51"/>
                <a:gd name="T47" fmla="*/ 53 h 66"/>
                <a:gd name="T48" fmla="*/ 10 w 51"/>
                <a:gd name="T49" fmla="*/ 66 h 66"/>
                <a:gd name="T50" fmla="*/ 0 w 51"/>
                <a:gd name="T51" fmla="*/ 66 h 66"/>
                <a:gd name="T52" fmla="*/ 20 w 51"/>
                <a:gd name="T53" fmla="*/ 15 h 66"/>
                <a:gd name="T54" fmla="*/ 30 w 51"/>
                <a:gd name="T55" fmla="*/ 15 h 66"/>
                <a:gd name="T56" fmla="*/ 51 w 51"/>
                <a:gd name="T57" fmla="*/ 66 h 66"/>
                <a:gd name="T58" fmla="*/ 40 w 51"/>
                <a:gd name="T5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66">
                  <a:moveTo>
                    <a:pt x="32" y="10"/>
                  </a:moveTo>
                  <a:lnTo>
                    <a:pt x="32" y="10"/>
                  </a:lnTo>
                  <a:cubicBezTo>
                    <a:pt x="29" y="10"/>
                    <a:pt x="27" y="8"/>
                    <a:pt x="27" y="5"/>
                  </a:cubicBezTo>
                  <a:cubicBezTo>
                    <a:pt x="27" y="3"/>
                    <a:pt x="29" y="0"/>
                    <a:pt x="32" y="0"/>
                  </a:cubicBezTo>
                  <a:cubicBezTo>
                    <a:pt x="35" y="0"/>
                    <a:pt x="37" y="3"/>
                    <a:pt x="37" y="5"/>
                  </a:cubicBezTo>
                  <a:cubicBezTo>
                    <a:pt x="37" y="8"/>
                    <a:pt x="35" y="10"/>
                    <a:pt x="32" y="10"/>
                  </a:cubicBezTo>
                  <a:lnTo>
                    <a:pt x="32" y="10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17" y="46"/>
                  </a:lnTo>
                  <a:lnTo>
                    <a:pt x="33" y="46"/>
                  </a:ln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18" y="10"/>
                  </a:moveTo>
                  <a:lnTo>
                    <a:pt x="18" y="10"/>
                  </a:lnTo>
                  <a:cubicBezTo>
                    <a:pt x="15" y="10"/>
                    <a:pt x="13" y="8"/>
                    <a:pt x="13" y="5"/>
                  </a:cubicBezTo>
                  <a:cubicBezTo>
                    <a:pt x="13" y="3"/>
                    <a:pt x="15" y="0"/>
                    <a:pt x="18" y="0"/>
                  </a:cubicBezTo>
                  <a:cubicBezTo>
                    <a:pt x="21" y="0"/>
                    <a:pt x="23" y="3"/>
                    <a:pt x="23" y="5"/>
                  </a:cubicBezTo>
                  <a:cubicBezTo>
                    <a:pt x="23" y="8"/>
                    <a:pt x="21" y="10"/>
                    <a:pt x="18" y="10"/>
                  </a:cubicBezTo>
                  <a:lnTo>
                    <a:pt x="18" y="10"/>
                  </a:lnTo>
                  <a:close/>
                  <a:moveTo>
                    <a:pt x="40" y="66"/>
                  </a:moveTo>
                  <a:lnTo>
                    <a:pt x="40" y="66"/>
                  </a:lnTo>
                  <a:lnTo>
                    <a:pt x="36" y="53"/>
                  </a:lnTo>
                  <a:lnTo>
                    <a:pt x="15" y="53"/>
                  </a:lnTo>
                  <a:lnTo>
                    <a:pt x="10" y="66"/>
                  </a:lnTo>
                  <a:lnTo>
                    <a:pt x="0" y="66"/>
                  </a:lnTo>
                  <a:lnTo>
                    <a:pt x="20" y="15"/>
                  </a:lnTo>
                  <a:lnTo>
                    <a:pt x="30" y="15"/>
                  </a:lnTo>
                  <a:lnTo>
                    <a:pt x="51" y="66"/>
                  </a:lnTo>
                  <a:lnTo>
                    <a:pt x="40" y="66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6" name="Freeform 110"/>
            <p:cNvSpPr>
              <a:spLocks/>
            </p:cNvSpPr>
            <p:nvPr userDrawn="1"/>
          </p:nvSpPr>
          <p:spPr bwMode="auto">
            <a:xfrm>
              <a:off x="1638300" y="744538"/>
              <a:ext cx="47625" cy="58738"/>
            </a:xfrm>
            <a:custGeom>
              <a:avLst/>
              <a:gdLst>
                <a:gd name="T0" fmla="*/ 27 w 44"/>
                <a:gd name="T1" fmla="*/ 7 h 51"/>
                <a:gd name="T2" fmla="*/ 27 w 44"/>
                <a:gd name="T3" fmla="*/ 7 h 51"/>
                <a:gd name="T4" fmla="*/ 27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7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7" y="7"/>
                  </a:moveTo>
                  <a:lnTo>
                    <a:pt x="27" y="7"/>
                  </a:lnTo>
                  <a:lnTo>
                    <a:pt x="27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7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7" name="Freeform 111"/>
            <p:cNvSpPr>
              <a:spLocks/>
            </p:cNvSpPr>
            <p:nvPr userDrawn="1"/>
          </p:nvSpPr>
          <p:spPr bwMode="auto">
            <a:xfrm>
              <a:off x="1084263" y="849313"/>
              <a:ext cx="61912" cy="58738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2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2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2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2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8" name="Freeform 112"/>
            <p:cNvSpPr>
              <a:spLocks noEditPoints="1"/>
            </p:cNvSpPr>
            <p:nvPr userDrawn="1"/>
          </p:nvSpPr>
          <p:spPr bwMode="auto">
            <a:xfrm>
              <a:off x="1166813" y="833438"/>
              <a:ext cx="46037" cy="74613"/>
            </a:xfrm>
            <a:custGeom>
              <a:avLst/>
              <a:gdLst>
                <a:gd name="T0" fmla="*/ 28 w 43"/>
                <a:gd name="T1" fmla="*/ 9 h 66"/>
                <a:gd name="T2" fmla="*/ 28 w 43"/>
                <a:gd name="T3" fmla="*/ 9 h 66"/>
                <a:gd name="T4" fmla="*/ 23 w 43"/>
                <a:gd name="T5" fmla="*/ 5 h 66"/>
                <a:gd name="T6" fmla="*/ 28 w 43"/>
                <a:gd name="T7" fmla="*/ 0 h 66"/>
                <a:gd name="T8" fmla="*/ 33 w 43"/>
                <a:gd name="T9" fmla="*/ 5 h 66"/>
                <a:gd name="T10" fmla="*/ 28 w 43"/>
                <a:gd name="T11" fmla="*/ 9 h 66"/>
                <a:gd name="T12" fmla="*/ 28 w 43"/>
                <a:gd name="T13" fmla="*/ 9 h 66"/>
                <a:gd name="T14" fmla="*/ 14 w 43"/>
                <a:gd name="T15" fmla="*/ 9 h 66"/>
                <a:gd name="T16" fmla="*/ 14 w 43"/>
                <a:gd name="T17" fmla="*/ 9 h 66"/>
                <a:gd name="T18" fmla="*/ 9 w 43"/>
                <a:gd name="T19" fmla="*/ 5 h 66"/>
                <a:gd name="T20" fmla="*/ 14 w 43"/>
                <a:gd name="T21" fmla="*/ 0 h 66"/>
                <a:gd name="T22" fmla="*/ 19 w 43"/>
                <a:gd name="T23" fmla="*/ 5 h 66"/>
                <a:gd name="T24" fmla="*/ 14 w 43"/>
                <a:gd name="T25" fmla="*/ 9 h 66"/>
                <a:gd name="T26" fmla="*/ 14 w 43"/>
                <a:gd name="T27" fmla="*/ 9 h 66"/>
                <a:gd name="T28" fmla="*/ 22 w 43"/>
                <a:gd name="T29" fmla="*/ 66 h 66"/>
                <a:gd name="T30" fmla="*/ 22 w 43"/>
                <a:gd name="T31" fmla="*/ 66 h 66"/>
                <a:gd name="T32" fmla="*/ 0 w 43"/>
                <a:gd name="T33" fmla="*/ 45 h 66"/>
                <a:gd name="T34" fmla="*/ 0 w 43"/>
                <a:gd name="T35" fmla="*/ 14 h 66"/>
                <a:gd name="T36" fmla="*/ 10 w 43"/>
                <a:gd name="T37" fmla="*/ 14 h 66"/>
                <a:gd name="T38" fmla="*/ 10 w 43"/>
                <a:gd name="T39" fmla="*/ 46 h 66"/>
                <a:gd name="T40" fmla="*/ 22 w 43"/>
                <a:gd name="T41" fmla="*/ 59 h 66"/>
                <a:gd name="T42" fmla="*/ 33 w 43"/>
                <a:gd name="T43" fmla="*/ 46 h 66"/>
                <a:gd name="T44" fmla="*/ 33 w 43"/>
                <a:gd name="T45" fmla="*/ 14 h 66"/>
                <a:gd name="T46" fmla="*/ 43 w 43"/>
                <a:gd name="T47" fmla="*/ 14 h 66"/>
                <a:gd name="T48" fmla="*/ 43 w 43"/>
                <a:gd name="T49" fmla="*/ 45 h 66"/>
                <a:gd name="T50" fmla="*/ 22 w 43"/>
                <a:gd name="T5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" h="66">
                  <a:moveTo>
                    <a:pt x="28" y="9"/>
                  </a:moveTo>
                  <a:lnTo>
                    <a:pt x="28" y="9"/>
                  </a:lnTo>
                  <a:cubicBezTo>
                    <a:pt x="25" y="9"/>
                    <a:pt x="23" y="7"/>
                    <a:pt x="23" y="5"/>
                  </a:cubicBezTo>
                  <a:cubicBezTo>
                    <a:pt x="23" y="2"/>
                    <a:pt x="25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7"/>
                    <a:pt x="31" y="9"/>
                    <a:pt x="28" y="9"/>
                  </a:cubicBezTo>
                  <a:lnTo>
                    <a:pt x="28" y="9"/>
                  </a:lnTo>
                  <a:close/>
                  <a:moveTo>
                    <a:pt x="14" y="9"/>
                  </a:moveTo>
                  <a:lnTo>
                    <a:pt x="14" y="9"/>
                  </a:lnTo>
                  <a:cubicBezTo>
                    <a:pt x="11" y="9"/>
                    <a:pt x="9" y="7"/>
                    <a:pt x="9" y="5"/>
                  </a:cubicBezTo>
                  <a:cubicBezTo>
                    <a:pt x="9" y="2"/>
                    <a:pt x="11" y="0"/>
                    <a:pt x="14" y="0"/>
                  </a:cubicBezTo>
                  <a:cubicBezTo>
                    <a:pt x="17" y="0"/>
                    <a:pt x="19" y="2"/>
                    <a:pt x="19" y="5"/>
                  </a:cubicBezTo>
                  <a:cubicBezTo>
                    <a:pt x="19" y="7"/>
                    <a:pt x="17" y="9"/>
                    <a:pt x="14" y="9"/>
                  </a:cubicBezTo>
                  <a:lnTo>
                    <a:pt x="14" y="9"/>
                  </a:lnTo>
                  <a:close/>
                  <a:moveTo>
                    <a:pt x="22" y="66"/>
                  </a:moveTo>
                  <a:lnTo>
                    <a:pt x="22" y="66"/>
                  </a:lnTo>
                  <a:cubicBezTo>
                    <a:pt x="11" y="66"/>
                    <a:pt x="0" y="62"/>
                    <a:pt x="0" y="45"/>
                  </a:cubicBezTo>
                  <a:lnTo>
                    <a:pt x="0" y="14"/>
                  </a:lnTo>
                  <a:lnTo>
                    <a:pt x="10" y="14"/>
                  </a:lnTo>
                  <a:lnTo>
                    <a:pt x="10" y="46"/>
                  </a:lnTo>
                  <a:cubicBezTo>
                    <a:pt x="10" y="54"/>
                    <a:pt x="14" y="59"/>
                    <a:pt x="22" y="59"/>
                  </a:cubicBezTo>
                  <a:cubicBezTo>
                    <a:pt x="29" y="59"/>
                    <a:pt x="33" y="54"/>
                    <a:pt x="33" y="46"/>
                  </a:cubicBezTo>
                  <a:lnTo>
                    <a:pt x="33" y="14"/>
                  </a:lnTo>
                  <a:lnTo>
                    <a:pt x="43" y="14"/>
                  </a:lnTo>
                  <a:lnTo>
                    <a:pt x="43" y="45"/>
                  </a:lnTo>
                  <a:cubicBezTo>
                    <a:pt x="43" y="61"/>
                    <a:pt x="32" y="66"/>
                    <a:pt x="22" y="66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9" name="Freeform 113"/>
            <p:cNvSpPr>
              <a:spLocks/>
            </p:cNvSpPr>
            <p:nvPr userDrawn="1"/>
          </p:nvSpPr>
          <p:spPr bwMode="auto">
            <a:xfrm>
              <a:off x="1235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0" name="Freeform 114"/>
            <p:cNvSpPr>
              <a:spLocks/>
            </p:cNvSpPr>
            <p:nvPr userDrawn="1"/>
          </p:nvSpPr>
          <p:spPr bwMode="auto">
            <a:xfrm>
              <a:off x="1300163" y="849313"/>
              <a:ext cx="47625" cy="58738"/>
            </a:xfrm>
            <a:custGeom>
              <a:avLst/>
              <a:gdLst>
                <a:gd name="T0" fmla="*/ 25 w 43"/>
                <a:gd name="T1" fmla="*/ 53 h 53"/>
                <a:gd name="T2" fmla="*/ 25 w 43"/>
                <a:gd name="T3" fmla="*/ 53 h 53"/>
                <a:gd name="T4" fmla="*/ 0 w 43"/>
                <a:gd name="T5" fmla="*/ 26 h 53"/>
                <a:gd name="T6" fmla="*/ 25 w 43"/>
                <a:gd name="T7" fmla="*/ 0 h 53"/>
                <a:gd name="T8" fmla="*/ 41 w 43"/>
                <a:gd name="T9" fmla="*/ 7 h 53"/>
                <a:gd name="T10" fmla="*/ 38 w 43"/>
                <a:gd name="T11" fmla="*/ 14 h 53"/>
                <a:gd name="T12" fmla="*/ 25 w 43"/>
                <a:gd name="T13" fmla="*/ 7 h 53"/>
                <a:gd name="T14" fmla="*/ 10 w 43"/>
                <a:gd name="T15" fmla="*/ 26 h 53"/>
                <a:gd name="T16" fmla="*/ 25 w 43"/>
                <a:gd name="T17" fmla="*/ 46 h 53"/>
                <a:gd name="T18" fmla="*/ 39 w 43"/>
                <a:gd name="T19" fmla="*/ 39 h 53"/>
                <a:gd name="T20" fmla="*/ 43 w 43"/>
                <a:gd name="T21" fmla="*/ 47 h 53"/>
                <a:gd name="T22" fmla="*/ 25 w 43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3">
                  <a:moveTo>
                    <a:pt x="25" y="53"/>
                  </a:moveTo>
                  <a:lnTo>
                    <a:pt x="25" y="53"/>
                  </a:lnTo>
                  <a:cubicBezTo>
                    <a:pt x="8" y="53"/>
                    <a:pt x="0" y="40"/>
                    <a:pt x="0" y="26"/>
                  </a:cubicBezTo>
                  <a:cubicBezTo>
                    <a:pt x="0" y="12"/>
                    <a:pt x="10" y="0"/>
                    <a:pt x="25" y="0"/>
                  </a:cubicBezTo>
                  <a:cubicBezTo>
                    <a:pt x="32" y="0"/>
                    <a:pt x="38" y="3"/>
                    <a:pt x="41" y="7"/>
                  </a:cubicBezTo>
                  <a:lnTo>
                    <a:pt x="38" y="14"/>
                  </a:lnTo>
                  <a:cubicBezTo>
                    <a:pt x="35" y="10"/>
                    <a:pt x="32" y="7"/>
                    <a:pt x="25" y="7"/>
                  </a:cubicBezTo>
                  <a:cubicBezTo>
                    <a:pt x="16" y="7"/>
                    <a:pt x="10" y="15"/>
                    <a:pt x="10" y="26"/>
                  </a:cubicBezTo>
                  <a:cubicBezTo>
                    <a:pt x="10" y="37"/>
                    <a:pt x="17" y="46"/>
                    <a:pt x="25" y="46"/>
                  </a:cubicBezTo>
                  <a:cubicBezTo>
                    <a:pt x="31" y="46"/>
                    <a:pt x="35" y="44"/>
                    <a:pt x="39" y="39"/>
                  </a:cubicBezTo>
                  <a:lnTo>
                    <a:pt x="43" y="47"/>
                  </a:lnTo>
                  <a:cubicBezTo>
                    <a:pt x="37" y="51"/>
                    <a:pt x="33" y="53"/>
                    <a:pt x="25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1" name="Freeform 115"/>
            <p:cNvSpPr>
              <a:spLocks/>
            </p:cNvSpPr>
            <p:nvPr userDrawn="1"/>
          </p:nvSpPr>
          <p:spPr bwMode="auto">
            <a:xfrm>
              <a:off x="1365250" y="849313"/>
              <a:ext cx="44450" cy="58738"/>
            </a:xfrm>
            <a:custGeom>
              <a:avLst/>
              <a:gdLst>
                <a:gd name="T0" fmla="*/ 32 w 41"/>
                <a:gd name="T1" fmla="*/ 51 h 51"/>
                <a:gd name="T2" fmla="*/ 32 w 41"/>
                <a:gd name="T3" fmla="*/ 51 h 51"/>
                <a:gd name="T4" fmla="*/ 32 w 41"/>
                <a:gd name="T5" fmla="*/ 28 h 51"/>
                <a:gd name="T6" fmla="*/ 9 w 41"/>
                <a:gd name="T7" fmla="*/ 28 h 51"/>
                <a:gd name="T8" fmla="*/ 9 w 41"/>
                <a:gd name="T9" fmla="*/ 51 h 51"/>
                <a:gd name="T10" fmla="*/ 0 w 41"/>
                <a:gd name="T11" fmla="*/ 51 h 51"/>
                <a:gd name="T12" fmla="*/ 0 w 41"/>
                <a:gd name="T13" fmla="*/ 0 h 51"/>
                <a:gd name="T14" fmla="*/ 9 w 41"/>
                <a:gd name="T15" fmla="*/ 0 h 51"/>
                <a:gd name="T16" fmla="*/ 9 w 41"/>
                <a:gd name="T17" fmla="*/ 21 h 51"/>
                <a:gd name="T18" fmla="*/ 32 w 41"/>
                <a:gd name="T19" fmla="*/ 21 h 51"/>
                <a:gd name="T20" fmla="*/ 32 w 41"/>
                <a:gd name="T21" fmla="*/ 0 h 51"/>
                <a:gd name="T22" fmla="*/ 41 w 41"/>
                <a:gd name="T23" fmla="*/ 0 h 51"/>
                <a:gd name="T24" fmla="*/ 41 w 41"/>
                <a:gd name="T25" fmla="*/ 51 h 51"/>
                <a:gd name="T26" fmla="*/ 32 w 4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51">
                  <a:moveTo>
                    <a:pt x="32" y="51"/>
                  </a:moveTo>
                  <a:lnTo>
                    <a:pt x="32" y="5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41" y="51"/>
                  </a:lnTo>
                  <a:lnTo>
                    <a:pt x="32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2" name="Freeform 116"/>
            <p:cNvSpPr>
              <a:spLocks/>
            </p:cNvSpPr>
            <p:nvPr userDrawn="1"/>
          </p:nvSpPr>
          <p:spPr bwMode="auto">
            <a:xfrm>
              <a:off x="1433513" y="849313"/>
              <a:ext cx="38100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8 h 51"/>
                <a:gd name="T10" fmla="*/ 9 w 35"/>
                <a:gd name="T11" fmla="*/ 8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3" name="Freeform 117"/>
            <p:cNvSpPr>
              <a:spLocks/>
            </p:cNvSpPr>
            <p:nvPr userDrawn="1"/>
          </p:nvSpPr>
          <p:spPr bwMode="auto">
            <a:xfrm>
              <a:off x="1489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sp>
        <p:nvSpPr>
          <p:cNvPr id="11" name="Rechteck 10"/>
          <p:cNvSpPr/>
          <p:nvPr/>
        </p:nvSpPr>
        <p:spPr bwMode="auto">
          <a:xfrm>
            <a:off x="1907704" y="0"/>
            <a:ext cx="7344816" cy="1196752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pic>
        <p:nvPicPr>
          <p:cNvPr id="9" name="Bild 8" descr="Siegel_25s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188640"/>
            <a:ext cx="1616213" cy="1642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57528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951136" y="649263"/>
            <a:ext cx="5141143" cy="36004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250825" y="1268413"/>
            <a:ext cx="8642350" cy="504090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  <a:lvl2pPr>
              <a:defRPr sz="2000">
                <a:latin typeface="+mn-lt"/>
                <a:cs typeface="Arial" panose="020B0604020202020204" pitchFamily="34" charset="0"/>
              </a:defRPr>
            </a:lvl2pPr>
            <a:lvl3pPr>
              <a:defRPr sz="1800">
                <a:latin typeface="+mn-lt"/>
                <a:cs typeface="Arial" panose="020B0604020202020204" pitchFamily="34" charset="0"/>
              </a:defRPr>
            </a:lvl3pPr>
            <a:lvl4pPr>
              <a:defRPr>
                <a:latin typeface="+mn-lt"/>
                <a:cs typeface="Arial" panose="020B0604020202020204" pitchFamily="34" charset="0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Titel 6"/>
          <p:cNvSpPr txBox="1">
            <a:spLocks/>
          </p:cNvSpPr>
          <p:nvPr userDrawn="1"/>
        </p:nvSpPr>
        <p:spPr>
          <a:xfrm>
            <a:off x="7092280" y="6381328"/>
            <a:ext cx="1828775" cy="3600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latin typeface="+mn-lt"/>
                <a:cs typeface="Arial" panose="020B0604020202020204" pitchFamily="34" charset="0"/>
              </a:rPr>
              <a:t>Folie</a:t>
            </a:r>
            <a:r>
              <a:rPr lang="de-DE" kern="0" baseline="0" dirty="0">
                <a:latin typeface="+mn-lt"/>
                <a:cs typeface="Arial" panose="020B0604020202020204" pitchFamily="34" charset="0"/>
              </a:rPr>
              <a:t> </a:t>
            </a:r>
            <a:fld id="{17A2342A-CA8C-4FED-8F1C-784024EE17E2}" type="slidenum">
              <a:rPr lang="de-DE" smtClean="0">
                <a:latin typeface="+mn-lt"/>
                <a:cs typeface="Arial" panose="020B0604020202020204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kern="0" baseline="0" dirty="0">
                <a:latin typeface="+mn-lt"/>
                <a:cs typeface="Arial" panose="020B0604020202020204" pitchFamily="34" charset="0"/>
              </a:rPr>
              <a:t> von XY</a:t>
            </a:r>
            <a:endParaRPr lang="de-DE" kern="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075932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6"/>
          <p:cNvSpPr>
            <a:spLocks noGrp="1"/>
          </p:cNvSpPr>
          <p:nvPr>
            <p:ph type="title"/>
          </p:nvPr>
        </p:nvSpPr>
        <p:spPr>
          <a:xfrm>
            <a:off x="1951136" y="649263"/>
            <a:ext cx="5141143" cy="36004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55049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685800" y="411921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78946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75000"/>
                <a:alpha val="89000"/>
              </a:schemeClr>
            </a:gs>
          </a:gsLst>
          <a:lin ang="60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27875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>
          <a:xfrm>
            <a:off x="0" y="1096821"/>
            <a:ext cx="9144000" cy="0"/>
          </a:xfrm>
          <a:prstGeom prst="line">
            <a:avLst/>
          </a:prstGeom>
          <a:ln w="6350">
            <a:gradFill flip="none" rotWithShape="1">
              <a:gsLst>
                <a:gs pos="9000">
                  <a:srgbClr val="445E8C"/>
                </a:gs>
                <a:gs pos="91000">
                  <a:srgbClr val="A2C333"/>
                </a:gs>
                <a:gs pos="41000">
                  <a:srgbClr val="FF971B"/>
                </a:gs>
                <a:gs pos="64000">
                  <a:srgbClr val="D0003A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5" descr="Siegel_25s.eps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332656"/>
            <a:ext cx="886032" cy="900468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238125" y="188640"/>
            <a:ext cx="8667749" cy="784225"/>
            <a:chOff x="179388" y="184151"/>
            <a:chExt cx="8667749" cy="784225"/>
          </a:xfrm>
        </p:grpSpPr>
        <p:sp>
          <p:nvSpPr>
            <p:cNvPr id="8" name="Freeform 76"/>
            <p:cNvSpPr>
              <a:spLocks noEditPoints="1"/>
            </p:cNvSpPr>
            <p:nvPr userDrawn="1"/>
          </p:nvSpPr>
          <p:spPr bwMode="auto">
            <a:xfrm>
              <a:off x="179388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9" name="Freeform 77"/>
            <p:cNvSpPr>
              <a:spLocks noEditPoints="1"/>
            </p:cNvSpPr>
            <p:nvPr userDrawn="1"/>
          </p:nvSpPr>
          <p:spPr bwMode="auto">
            <a:xfrm>
              <a:off x="1028700" y="184151"/>
              <a:ext cx="766762" cy="784225"/>
            </a:xfrm>
            <a:custGeom>
              <a:avLst/>
              <a:gdLst>
                <a:gd name="T0" fmla="*/ 689 w 695"/>
                <a:gd name="T1" fmla="*/ 689 h 696"/>
                <a:gd name="T2" fmla="*/ 689 w 695"/>
                <a:gd name="T3" fmla="*/ 689 h 696"/>
                <a:gd name="T4" fmla="*/ 6 w 695"/>
                <a:gd name="T5" fmla="*/ 689 h 696"/>
                <a:gd name="T6" fmla="*/ 6 w 695"/>
                <a:gd name="T7" fmla="*/ 6 h 696"/>
                <a:gd name="T8" fmla="*/ 689 w 695"/>
                <a:gd name="T9" fmla="*/ 6 h 696"/>
                <a:gd name="T10" fmla="*/ 689 w 695"/>
                <a:gd name="T11" fmla="*/ 689 h 696"/>
                <a:gd name="T12" fmla="*/ 689 w 695"/>
                <a:gd name="T13" fmla="*/ 689 h 696"/>
                <a:gd name="T14" fmla="*/ 692 w 695"/>
                <a:gd name="T15" fmla="*/ 0 h 696"/>
                <a:gd name="T16" fmla="*/ 692 w 695"/>
                <a:gd name="T17" fmla="*/ 0 h 696"/>
                <a:gd name="T18" fmla="*/ 0 w 695"/>
                <a:gd name="T19" fmla="*/ 0 h 696"/>
                <a:gd name="T20" fmla="*/ 0 w 695"/>
                <a:gd name="T21" fmla="*/ 696 h 696"/>
                <a:gd name="T22" fmla="*/ 695 w 695"/>
                <a:gd name="T23" fmla="*/ 696 h 696"/>
                <a:gd name="T24" fmla="*/ 695 w 695"/>
                <a:gd name="T25" fmla="*/ 0 h 696"/>
                <a:gd name="T26" fmla="*/ 692 w 695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5" h="696">
                  <a:moveTo>
                    <a:pt x="689" y="689"/>
                  </a:moveTo>
                  <a:lnTo>
                    <a:pt x="689" y="689"/>
                  </a:lnTo>
                  <a:cubicBezTo>
                    <a:pt x="683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683" y="6"/>
                    <a:pt x="689" y="6"/>
                  </a:cubicBezTo>
                  <a:cubicBezTo>
                    <a:pt x="689" y="12"/>
                    <a:pt x="689" y="683"/>
                    <a:pt x="689" y="689"/>
                  </a:cubicBezTo>
                  <a:lnTo>
                    <a:pt x="689" y="689"/>
                  </a:lnTo>
                  <a:close/>
                  <a:moveTo>
                    <a:pt x="692" y="0"/>
                  </a:moveTo>
                  <a:lnTo>
                    <a:pt x="692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695" y="696"/>
                  </a:lnTo>
                  <a:lnTo>
                    <a:pt x="695" y="0"/>
                  </a:lnTo>
                  <a:lnTo>
                    <a:pt x="69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0" name="Freeform 78"/>
            <p:cNvSpPr>
              <a:spLocks noEditPoints="1"/>
            </p:cNvSpPr>
            <p:nvPr userDrawn="1"/>
          </p:nvSpPr>
          <p:spPr bwMode="auto">
            <a:xfrm>
              <a:off x="1879600" y="184151"/>
              <a:ext cx="5167312" cy="784225"/>
            </a:xfrm>
            <a:custGeom>
              <a:avLst/>
              <a:gdLst>
                <a:gd name="T0" fmla="*/ 4681 w 4687"/>
                <a:gd name="T1" fmla="*/ 689 h 696"/>
                <a:gd name="T2" fmla="*/ 4681 w 4687"/>
                <a:gd name="T3" fmla="*/ 689 h 696"/>
                <a:gd name="T4" fmla="*/ 7 w 4687"/>
                <a:gd name="T5" fmla="*/ 689 h 696"/>
                <a:gd name="T6" fmla="*/ 7 w 4687"/>
                <a:gd name="T7" fmla="*/ 6 h 696"/>
                <a:gd name="T8" fmla="*/ 4681 w 4687"/>
                <a:gd name="T9" fmla="*/ 6 h 696"/>
                <a:gd name="T10" fmla="*/ 4681 w 4687"/>
                <a:gd name="T11" fmla="*/ 689 h 696"/>
                <a:gd name="T12" fmla="*/ 4681 w 4687"/>
                <a:gd name="T13" fmla="*/ 689 h 696"/>
                <a:gd name="T14" fmla="*/ 4684 w 4687"/>
                <a:gd name="T15" fmla="*/ 0 h 696"/>
                <a:gd name="T16" fmla="*/ 4684 w 4687"/>
                <a:gd name="T17" fmla="*/ 0 h 696"/>
                <a:gd name="T18" fmla="*/ 0 w 4687"/>
                <a:gd name="T19" fmla="*/ 0 h 696"/>
                <a:gd name="T20" fmla="*/ 0 w 4687"/>
                <a:gd name="T21" fmla="*/ 696 h 696"/>
                <a:gd name="T22" fmla="*/ 4687 w 4687"/>
                <a:gd name="T23" fmla="*/ 696 h 696"/>
                <a:gd name="T24" fmla="*/ 4687 w 4687"/>
                <a:gd name="T25" fmla="*/ 0 h 696"/>
                <a:gd name="T26" fmla="*/ 4684 w 4687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7" h="696">
                  <a:moveTo>
                    <a:pt x="4681" y="689"/>
                  </a:moveTo>
                  <a:lnTo>
                    <a:pt x="4681" y="689"/>
                  </a:lnTo>
                  <a:cubicBezTo>
                    <a:pt x="4675" y="689"/>
                    <a:pt x="13" y="689"/>
                    <a:pt x="7" y="689"/>
                  </a:cubicBezTo>
                  <a:cubicBezTo>
                    <a:pt x="7" y="683"/>
                    <a:pt x="7" y="12"/>
                    <a:pt x="7" y="6"/>
                  </a:cubicBezTo>
                  <a:cubicBezTo>
                    <a:pt x="13" y="6"/>
                    <a:pt x="4675" y="6"/>
                    <a:pt x="4681" y="6"/>
                  </a:cubicBezTo>
                  <a:cubicBezTo>
                    <a:pt x="4681" y="12"/>
                    <a:pt x="4681" y="683"/>
                    <a:pt x="4681" y="689"/>
                  </a:cubicBezTo>
                  <a:lnTo>
                    <a:pt x="4681" y="689"/>
                  </a:lnTo>
                  <a:close/>
                  <a:moveTo>
                    <a:pt x="4684" y="0"/>
                  </a:moveTo>
                  <a:lnTo>
                    <a:pt x="4684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4687" y="696"/>
                  </a:lnTo>
                  <a:lnTo>
                    <a:pt x="4687" y="0"/>
                  </a:lnTo>
                  <a:lnTo>
                    <a:pt x="4684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3" name="Freeform 79"/>
            <p:cNvSpPr>
              <a:spLocks noEditPoints="1"/>
            </p:cNvSpPr>
            <p:nvPr userDrawn="1"/>
          </p:nvSpPr>
          <p:spPr bwMode="auto">
            <a:xfrm>
              <a:off x="7134225" y="184151"/>
              <a:ext cx="1712912" cy="784225"/>
            </a:xfrm>
            <a:custGeom>
              <a:avLst/>
              <a:gdLst>
                <a:gd name="T0" fmla="*/ 1547 w 1554"/>
                <a:gd name="T1" fmla="*/ 689 h 696"/>
                <a:gd name="T2" fmla="*/ 1547 w 1554"/>
                <a:gd name="T3" fmla="*/ 689 h 696"/>
                <a:gd name="T4" fmla="*/ 6 w 1554"/>
                <a:gd name="T5" fmla="*/ 689 h 696"/>
                <a:gd name="T6" fmla="*/ 6 w 1554"/>
                <a:gd name="T7" fmla="*/ 6 h 696"/>
                <a:gd name="T8" fmla="*/ 1547 w 1554"/>
                <a:gd name="T9" fmla="*/ 6 h 696"/>
                <a:gd name="T10" fmla="*/ 1547 w 1554"/>
                <a:gd name="T11" fmla="*/ 689 h 696"/>
                <a:gd name="T12" fmla="*/ 1547 w 1554"/>
                <a:gd name="T13" fmla="*/ 689 h 696"/>
                <a:gd name="T14" fmla="*/ 1551 w 1554"/>
                <a:gd name="T15" fmla="*/ 0 h 696"/>
                <a:gd name="T16" fmla="*/ 1551 w 1554"/>
                <a:gd name="T17" fmla="*/ 0 h 696"/>
                <a:gd name="T18" fmla="*/ 0 w 1554"/>
                <a:gd name="T19" fmla="*/ 0 h 696"/>
                <a:gd name="T20" fmla="*/ 0 w 1554"/>
                <a:gd name="T21" fmla="*/ 696 h 696"/>
                <a:gd name="T22" fmla="*/ 1554 w 1554"/>
                <a:gd name="T23" fmla="*/ 696 h 696"/>
                <a:gd name="T24" fmla="*/ 1554 w 1554"/>
                <a:gd name="T25" fmla="*/ 0 h 696"/>
                <a:gd name="T26" fmla="*/ 1551 w 1554"/>
                <a:gd name="T27" fmla="*/ 0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4" h="696">
                  <a:moveTo>
                    <a:pt x="1547" y="689"/>
                  </a:moveTo>
                  <a:lnTo>
                    <a:pt x="1547" y="689"/>
                  </a:lnTo>
                  <a:cubicBezTo>
                    <a:pt x="1541" y="689"/>
                    <a:pt x="12" y="689"/>
                    <a:pt x="6" y="689"/>
                  </a:cubicBezTo>
                  <a:cubicBezTo>
                    <a:pt x="6" y="683"/>
                    <a:pt x="6" y="12"/>
                    <a:pt x="6" y="6"/>
                  </a:cubicBezTo>
                  <a:cubicBezTo>
                    <a:pt x="12" y="6"/>
                    <a:pt x="1541" y="6"/>
                    <a:pt x="1547" y="6"/>
                  </a:cubicBezTo>
                  <a:cubicBezTo>
                    <a:pt x="1547" y="12"/>
                    <a:pt x="1547" y="683"/>
                    <a:pt x="1547" y="689"/>
                  </a:cubicBezTo>
                  <a:lnTo>
                    <a:pt x="1547" y="689"/>
                  </a:lnTo>
                  <a:close/>
                  <a:moveTo>
                    <a:pt x="1551" y="0"/>
                  </a:moveTo>
                  <a:lnTo>
                    <a:pt x="1551" y="0"/>
                  </a:lnTo>
                  <a:lnTo>
                    <a:pt x="0" y="0"/>
                  </a:lnTo>
                  <a:lnTo>
                    <a:pt x="0" y="696"/>
                  </a:lnTo>
                  <a:lnTo>
                    <a:pt x="1554" y="696"/>
                  </a:lnTo>
                  <a:lnTo>
                    <a:pt x="1554" y="0"/>
                  </a:lnTo>
                  <a:lnTo>
                    <a:pt x="155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4" name="Freeform 80"/>
            <p:cNvSpPr>
              <a:spLocks noEditPoints="1"/>
            </p:cNvSpPr>
            <p:nvPr userDrawn="1"/>
          </p:nvSpPr>
          <p:spPr bwMode="auto">
            <a:xfrm>
              <a:off x="233363" y="638176"/>
              <a:ext cx="652462" cy="277813"/>
            </a:xfrm>
            <a:custGeom>
              <a:avLst/>
              <a:gdLst>
                <a:gd name="T0" fmla="*/ 371 w 591"/>
                <a:gd name="T1" fmla="*/ 148 h 246"/>
                <a:gd name="T2" fmla="*/ 453 w 591"/>
                <a:gd name="T3" fmla="*/ 0 h 246"/>
                <a:gd name="T4" fmla="*/ 461 w 591"/>
                <a:gd name="T5" fmla="*/ 180 h 246"/>
                <a:gd name="T6" fmla="*/ 502 w 591"/>
                <a:gd name="T7" fmla="*/ 180 h 246"/>
                <a:gd name="T8" fmla="*/ 510 w 591"/>
                <a:gd name="T9" fmla="*/ 0 h 246"/>
                <a:gd name="T10" fmla="*/ 591 w 591"/>
                <a:gd name="T11" fmla="*/ 148 h 246"/>
                <a:gd name="T12" fmla="*/ 561 w 591"/>
                <a:gd name="T13" fmla="*/ 223 h 246"/>
                <a:gd name="T14" fmla="*/ 481 w 591"/>
                <a:gd name="T15" fmla="*/ 246 h 246"/>
                <a:gd name="T16" fmla="*/ 402 w 591"/>
                <a:gd name="T17" fmla="*/ 223 h 246"/>
                <a:gd name="T18" fmla="*/ 371 w 591"/>
                <a:gd name="T19" fmla="*/ 148 h 246"/>
                <a:gd name="T20" fmla="*/ 226 w 591"/>
                <a:gd name="T21" fmla="*/ 185 h 246"/>
                <a:gd name="T22" fmla="*/ 229 w 591"/>
                <a:gd name="T23" fmla="*/ 188 h 246"/>
                <a:gd name="T24" fmla="*/ 238 w 591"/>
                <a:gd name="T25" fmla="*/ 134 h 246"/>
                <a:gd name="T26" fmla="*/ 258 w 591"/>
                <a:gd name="T27" fmla="*/ 32 h 246"/>
                <a:gd name="T28" fmla="*/ 342 w 591"/>
                <a:gd name="T29" fmla="*/ 0 h 246"/>
                <a:gd name="T30" fmla="*/ 296 w 591"/>
                <a:gd name="T31" fmla="*/ 239 h 246"/>
                <a:gd name="T32" fmla="*/ 293 w 591"/>
                <a:gd name="T33" fmla="*/ 36 h 246"/>
                <a:gd name="T34" fmla="*/ 286 w 591"/>
                <a:gd name="T35" fmla="*/ 69 h 246"/>
                <a:gd name="T36" fmla="*/ 267 w 591"/>
                <a:gd name="T37" fmla="*/ 165 h 246"/>
                <a:gd name="T38" fmla="*/ 203 w 591"/>
                <a:gd name="T39" fmla="*/ 239 h 246"/>
                <a:gd name="T40" fmla="*/ 177 w 591"/>
                <a:gd name="T41" fmla="*/ 114 h 246"/>
                <a:gd name="T42" fmla="*/ 162 w 591"/>
                <a:gd name="T43" fmla="*/ 38 h 246"/>
                <a:gd name="T44" fmla="*/ 158 w 591"/>
                <a:gd name="T45" fmla="*/ 38 h 246"/>
                <a:gd name="T46" fmla="*/ 116 w 591"/>
                <a:gd name="T47" fmla="*/ 239 h 246"/>
                <a:gd name="T48" fmla="*/ 193 w 591"/>
                <a:gd name="T49" fmla="*/ 0 h 246"/>
                <a:gd name="T50" fmla="*/ 203 w 591"/>
                <a:gd name="T51" fmla="*/ 48 h 246"/>
                <a:gd name="T52" fmla="*/ 215 w 591"/>
                <a:gd name="T53" fmla="*/ 116 h 246"/>
                <a:gd name="T54" fmla="*/ 226 w 591"/>
                <a:gd name="T55" fmla="*/ 185 h 246"/>
                <a:gd name="T56" fmla="*/ 0 w 591"/>
                <a:gd name="T57" fmla="*/ 0 h 246"/>
                <a:gd name="T58" fmla="*/ 23 w 591"/>
                <a:gd name="T59" fmla="*/ 0 h 246"/>
                <a:gd name="T60" fmla="*/ 92 w 591"/>
                <a:gd name="T61" fmla="*/ 221 h 246"/>
                <a:gd name="T62" fmla="*/ 0 w 591"/>
                <a:gd name="T63" fmla="*/ 23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1" h="246">
                  <a:moveTo>
                    <a:pt x="371" y="148"/>
                  </a:moveTo>
                  <a:lnTo>
                    <a:pt x="371" y="148"/>
                  </a:lnTo>
                  <a:lnTo>
                    <a:pt x="371" y="0"/>
                  </a:lnTo>
                  <a:lnTo>
                    <a:pt x="453" y="0"/>
                  </a:lnTo>
                  <a:lnTo>
                    <a:pt x="453" y="156"/>
                  </a:lnTo>
                  <a:cubicBezTo>
                    <a:pt x="453" y="167"/>
                    <a:pt x="456" y="175"/>
                    <a:pt x="461" y="180"/>
                  </a:cubicBezTo>
                  <a:cubicBezTo>
                    <a:pt x="466" y="184"/>
                    <a:pt x="473" y="187"/>
                    <a:pt x="481" y="187"/>
                  </a:cubicBezTo>
                  <a:cubicBezTo>
                    <a:pt x="490" y="187"/>
                    <a:pt x="497" y="184"/>
                    <a:pt x="502" y="180"/>
                  </a:cubicBezTo>
                  <a:cubicBezTo>
                    <a:pt x="507" y="175"/>
                    <a:pt x="510" y="167"/>
                    <a:pt x="510" y="156"/>
                  </a:cubicBezTo>
                  <a:lnTo>
                    <a:pt x="510" y="0"/>
                  </a:lnTo>
                  <a:lnTo>
                    <a:pt x="591" y="0"/>
                  </a:lnTo>
                  <a:lnTo>
                    <a:pt x="591" y="148"/>
                  </a:lnTo>
                  <a:cubicBezTo>
                    <a:pt x="591" y="166"/>
                    <a:pt x="589" y="181"/>
                    <a:pt x="583" y="193"/>
                  </a:cubicBezTo>
                  <a:cubicBezTo>
                    <a:pt x="578" y="205"/>
                    <a:pt x="571" y="215"/>
                    <a:pt x="561" y="223"/>
                  </a:cubicBezTo>
                  <a:cubicBezTo>
                    <a:pt x="551" y="231"/>
                    <a:pt x="540" y="237"/>
                    <a:pt x="526" y="240"/>
                  </a:cubicBezTo>
                  <a:cubicBezTo>
                    <a:pt x="513" y="244"/>
                    <a:pt x="498" y="246"/>
                    <a:pt x="481" y="246"/>
                  </a:cubicBezTo>
                  <a:cubicBezTo>
                    <a:pt x="465" y="246"/>
                    <a:pt x="450" y="244"/>
                    <a:pt x="437" y="240"/>
                  </a:cubicBezTo>
                  <a:cubicBezTo>
                    <a:pt x="423" y="237"/>
                    <a:pt x="412" y="231"/>
                    <a:pt x="402" y="223"/>
                  </a:cubicBezTo>
                  <a:cubicBezTo>
                    <a:pt x="392" y="215"/>
                    <a:pt x="385" y="205"/>
                    <a:pt x="379" y="193"/>
                  </a:cubicBezTo>
                  <a:cubicBezTo>
                    <a:pt x="374" y="181"/>
                    <a:pt x="371" y="166"/>
                    <a:pt x="371" y="148"/>
                  </a:cubicBezTo>
                  <a:lnTo>
                    <a:pt x="371" y="148"/>
                  </a:lnTo>
                  <a:close/>
                  <a:moveTo>
                    <a:pt x="226" y="185"/>
                  </a:moveTo>
                  <a:lnTo>
                    <a:pt x="226" y="185"/>
                  </a:lnTo>
                  <a:cubicBezTo>
                    <a:pt x="226" y="187"/>
                    <a:pt x="227" y="188"/>
                    <a:pt x="229" y="188"/>
                  </a:cubicBezTo>
                  <a:cubicBezTo>
                    <a:pt x="230" y="188"/>
                    <a:pt x="230" y="187"/>
                    <a:pt x="230" y="185"/>
                  </a:cubicBezTo>
                  <a:cubicBezTo>
                    <a:pt x="232" y="169"/>
                    <a:pt x="235" y="152"/>
                    <a:pt x="238" y="134"/>
                  </a:cubicBezTo>
                  <a:cubicBezTo>
                    <a:pt x="242" y="115"/>
                    <a:pt x="245" y="97"/>
                    <a:pt x="248" y="80"/>
                  </a:cubicBezTo>
                  <a:cubicBezTo>
                    <a:pt x="252" y="62"/>
                    <a:pt x="255" y="46"/>
                    <a:pt x="258" y="32"/>
                  </a:cubicBezTo>
                  <a:cubicBezTo>
                    <a:pt x="261" y="18"/>
                    <a:pt x="263" y="7"/>
                    <a:pt x="265" y="0"/>
                  </a:cubicBezTo>
                  <a:lnTo>
                    <a:pt x="342" y="0"/>
                  </a:lnTo>
                  <a:lnTo>
                    <a:pt x="342" y="239"/>
                  </a:lnTo>
                  <a:lnTo>
                    <a:pt x="296" y="239"/>
                  </a:lnTo>
                  <a:lnTo>
                    <a:pt x="296" y="38"/>
                  </a:lnTo>
                  <a:cubicBezTo>
                    <a:pt x="296" y="36"/>
                    <a:pt x="295" y="36"/>
                    <a:pt x="293" y="36"/>
                  </a:cubicBezTo>
                  <a:cubicBezTo>
                    <a:pt x="292" y="36"/>
                    <a:pt x="292" y="36"/>
                    <a:pt x="292" y="38"/>
                  </a:cubicBezTo>
                  <a:cubicBezTo>
                    <a:pt x="290" y="47"/>
                    <a:pt x="288" y="58"/>
                    <a:pt x="286" y="69"/>
                  </a:cubicBezTo>
                  <a:cubicBezTo>
                    <a:pt x="284" y="81"/>
                    <a:pt x="281" y="95"/>
                    <a:pt x="278" y="110"/>
                  </a:cubicBezTo>
                  <a:cubicBezTo>
                    <a:pt x="275" y="126"/>
                    <a:pt x="271" y="144"/>
                    <a:pt x="267" y="165"/>
                  </a:cubicBezTo>
                  <a:cubicBezTo>
                    <a:pt x="262" y="186"/>
                    <a:pt x="257" y="211"/>
                    <a:pt x="251" y="239"/>
                  </a:cubicBezTo>
                  <a:lnTo>
                    <a:pt x="203" y="239"/>
                  </a:lnTo>
                  <a:cubicBezTo>
                    <a:pt x="197" y="211"/>
                    <a:pt x="192" y="187"/>
                    <a:pt x="188" y="167"/>
                  </a:cubicBezTo>
                  <a:cubicBezTo>
                    <a:pt x="184" y="147"/>
                    <a:pt x="180" y="129"/>
                    <a:pt x="177" y="114"/>
                  </a:cubicBezTo>
                  <a:cubicBezTo>
                    <a:pt x="174" y="98"/>
                    <a:pt x="172" y="85"/>
                    <a:pt x="169" y="73"/>
                  </a:cubicBezTo>
                  <a:cubicBezTo>
                    <a:pt x="167" y="61"/>
                    <a:pt x="164" y="49"/>
                    <a:pt x="162" y="38"/>
                  </a:cubicBezTo>
                  <a:cubicBezTo>
                    <a:pt x="162" y="36"/>
                    <a:pt x="161" y="36"/>
                    <a:pt x="160" y="36"/>
                  </a:cubicBezTo>
                  <a:cubicBezTo>
                    <a:pt x="159" y="36"/>
                    <a:pt x="158" y="36"/>
                    <a:pt x="158" y="38"/>
                  </a:cubicBezTo>
                  <a:lnTo>
                    <a:pt x="158" y="239"/>
                  </a:lnTo>
                  <a:lnTo>
                    <a:pt x="116" y="239"/>
                  </a:lnTo>
                  <a:lnTo>
                    <a:pt x="116" y="0"/>
                  </a:lnTo>
                  <a:lnTo>
                    <a:pt x="193" y="0"/>
                  </a:lnTo>
                  <a:cubicBezTo>
                    <a:pt x="194" y="5"/>
                    <a:pt x="196" y="12"/>
                    <a:pt x="197" y="20"/>
                  </a:cubicBezTo>
                  <a:cubicBezTo>
                    <a:pt x="199" y="28"/>
                    <a:pt x="201" y="37"/>
                    <a:pt x="203" y="48"/>
                  </a:cubicBezTo>
                  <a:cubicBezTo>
                    <a:pt x="205" y="58"/>
                    <a:pt x="207" y="69"/>
                    <a:pt x="209" y="81"/>
                  </a:cubicBezTo>
                  <a:cubicBezTo>
                    <a:pt x="211" y="92"/>
                    <a:pt x="213" y="104"/>
                    <a:pt x="215" y="116"/>
                  </a:cubicBezTo>
                  <a:cubicBezTo>
                    <a:pt x="217" y="128"/>
                    <a:pt x="219" y="140"/>
                    <a:pt x="221" y="152"/>
                  </a:cubicBezTo>
                  <a:cubicBezTo>
                    <a:pt x="223" y="164"/>
                    <a:pt x="225" y="175"/>
                    <a:pt x="226" y="185"/>
                  </a:cubicBezTo>
                  <a:lnTo>
                    <a:pt x="226" y="185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23" y="221"/>
                  </a:lnTo>
                  <a:lnTo>
                    <a:pt x="92" y="221"/>
                  </a:lnTo>
                  <a:lnTo>
                    <a:pt x="92" y="239"/>
                  </a:lnTo>
                  <a:lnTo>
                    <a:pt x="0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5" name="Freeform 81"/>
            <p:cNvSpPr>
              <a:spLocks/>
            </p:cNvSpPr>
            <p:nvPr userDrawn="1"/>
          </p:nvSpPr>
          <p:spPr bwMode="auto">
            <a:xfrm>
              <a:off x="1085850" y="534988"/>
              <a:ext cx="38100" cy="57150"/>
            </a:xfrm>
            <a:custGeom>
              <a:avLst/>
              <a:gdLst>
                <a:gd name="T0" fmla="*/ 0 w 34"/>
                <a:gd name="T1" fmla="*/ 51 h 51"/>
                <a:gd name="T2" fmla="*/ 0 w 34"/>
                <a:gd name="T3" fmla="*/ 51 h 51"/>
                <a:gd name="T4" fmla="*/ 0 w 34"/>
                <a:gd name="T5" fmla="*/ 0 h 51"/>
                <a:gd name="T6" fmla="*/ 9 w 34"/>
                <a:gd name="T7" fmla="*/ 0 h 51"/>
                <a:gd name="T8" fmla="*/ 9 w 34"/>
                <a:gd name="T9" fmla="*/ 43 h 51"/>
                <a:gd name="T10" fmla="*/ 34 w 34"/>
                <a:gd name="T11" fmla="*/ 43 h 51"/>
                <a:gd name="T12" fmla="*/ 34 w 34"/>
                <a:gd name="T13" fmla="*/ 51 h 51"/>
                <a:gd name="T14" fmla="*/ 0 w 34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43"/>
                  </a:lnTo>
                  <a:lnTo>
                    <a:pt x="34" y="43"/>
                  </a:lnTo>
                  <a:lnTo>
                    <a:pt x="34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6" name="Freeform 82"/>
            <p:cNvSpPr>
              <a:spLocks/>
            </p:cNvSpPr>
            <p:nvPr userDrawn="1"/>
          </p:nvSpPr>
          <p:spPr bwMode="auto">
            <a:xfrm>
              <a:off x="1138238" y="53498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7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" name="Freeform 83"/>
            <p:cNvSpPr>
              <a:spLocks noEditPoints="1"/>
            </p:cNvSpPr>
            <p:nvPr userDrawn="1"/>
          </p:nvSpPr>
          <p:spPr bwMode="auto">
            <a:xfrm>
              <a:off x="1206500" y="534988"/>
              <a:ext cx="46037" cy="57150"/>
            </a:xfrm>
            <a:custGeom>
              <a:avLst/>
              <a:gdLst>
                <a:gd name="T0" fmla="*/ 15 w 42"/>
                <a:gd name="T1" fmla="*/ 7 h 51"/>
                <a:gd name="T2" fmla="*/ 15 w 42"/>
                <a:gd name="T3" fmla="*/ 7 h 51"/>
                <a:gd name="T4" fmla="*/ 10 w 42"/>
                <a:gd name="T5" fmla="*/ 7 h 51"/>
                <a:gd name="T6" fmla="*/ 10 w 42"/>
                <a:gd name="T7" fmla="*/ 44 h 51"/>
                <a:gd name="T8" fmla="*/ 15 w 42"/>
                <a:gd name="T9" fmla="*/ 44 h 51"/>
                <a:gd name="T10" fmla="*/ 32 w 42"/>
                <a:gd name="T11" fmla="*/ 25 h 51"/>
                <a:gd name="T12" fmla="*/ 15 w 42"/>
                <a:gd name="T13" fmla="*/ 7 h 51"/>
                <a:gd name="T14" fmla="*/ 15 w 42"/>
                <a:gd name="T15" fmla="*/ 7 h 51"/>
                <a:gd name="T16" fmla="*/ 16 w 42"/>
                <a:gd name="T17" fmla="*/ 51 h 51"/>
                <a:gd name="T18" fmla="*/ 16 w 42"/>
                <a:gd name="T19" fmla="*/ 51 h 51"/>
                <a:gd name="T20" fmla="*/ 0 w 42"/>
                <a:gd name="T21" fmla="*/ 51 h 51"/>
                <a:gd name="T22" fmla="*/ 0 w 42"/>
                <a:gd name="T23" fmla="*/ 0 h 51"/>
                <a:gd name="T24" fmla="*/ 16 w 42"/>
                <a:gd name="T25" fmla="*/ 0 h 51"/>
                <a:gd name="T26" fmla="*/ 42 w 42"/>
                <a:gd name="T27" fmla="*/ 25 h 51"/>
                <a:gd name="T28" fmla="*/ 16 w 42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51">
                  <a:moveTo>
                    <a:pt x="15" y="7"/>
                  </a:moveTo>
                  <a:lnTo>
                    <a:pt x="15" y="7"/>
                  </a:lnTo>
                  <a:lnTo>
                    <a:pt x="10" y="7"/>
                  </a:lnTo>
                  <a:lnTo>
                    <a:pt x="10" y="44"/>
                  </a:lnTo>
                  <a:lnTo>
                    <a:pt x="15" y="44"/>
                  </a:lnTo>
                  <a:cubicBezTo>
                    <a:pt x="26" y="44"/>
                    <a:pt x="32" y="39"/>
                    <a:pt x="32" y="25"/>
                  </a:cubicBezTo>
                  <a:cubicBezTo>
                    <a:pt x="32" y="13"/>
                    <a:pt x="26" y="7"/>
                    <a:pt x="15" y="7"/>
                  </a:cubicBezTo>
                  <a:lnTo>
                    <a:pt x="15" y="7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6" y="0"/>
                  </a:lnTo>
                  <a:cubicBezTo>
                    <a:pt x="34" y="0"/>
                    <a:pt x="42" y="10"/>
                    <a:pt x="42" y="25"/>
                  </a:cubicBezTo>
                  <a:cubicBezTo>
                    <a:pt x="42" y="42"/>
                    <a:pt x="32" y="51"/>
                    <a:pt x="16" y="51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8" name="Freeform 84"/>
            <p:cNvSpPr>
              <a:spLocks/>
            </p:cNvSpPr>
            <p:nvPr userDrawn="1"/>
          </p:nvSpPr>
          <p:spPr bwMode="auto">
            <a:xfrm>
              <a:off x="1263650" y="534988"/>
              <a:ext cx="77787" cy="57150"/>
            </a:xfrm>
            <a:custGeom>
              <a:avLst/>
              <a:gdLst>
                <a:gd name="T0" fmla="*/ 56 w 71"/>
                <a:gd name="T1" fmla="*/ 51 h 51"/>
                <a:gd name="T2" fmla="*/ 56 w 71"/>
                <a:gd name="T3" fmla="*/ 51 h 51"/>
                <a:gd name="T4" fmla="*/ 46 w 71"/>
                <a:gd name="T5" fmla="*/ 51 h 51"/>
                <a:gd name="T6" fmla="*/ 36 w 71"/>
                <a:gd name="T7" fmla="*/ 15 h 51"/>
                <a:gd name="T8" fmla="*/ 26 w 71"/>
                <a:gd name="T9" fmla="*/ 51 h 51"/>
                <a:gd name="T10" fmla="*/ 16 w 71"/>
                <a:gd name="T11" fmla="*/ 51 h 51"/>
                <a:gd name="T12" fmla="*/ 0 w 71"/>
                <a:gd name="T13" fmla="*/ 0 h 51"/>
                <a:gd name="T14" fmla="*/ 11 w 71"/>
                <a:gd name="T15" fmla="*/ 0 h 51"/>
                <a:gd name="T16" fmla="*/ 21 w 71"/>
                <a:gd name="T17" fmla="*/ 40 h 51"/>
                <a:gd name="T18" fmla="*/ 31 w 71"/>
                <a:gd name="T19" fmla="*/ 4 h 51"/>
                <a:gd name="T20" fmla="*/ 41 w 71"/>
                <a:gd name="T21" fmla="*/ 4 h 51"/>
                <a:gd name="T22" fmla="*/ 51 w 71"/>
                <a:gd name="T23" fmla="*/ 40 h 51"/>
                <a:gd name="T24" fmla="*/ 61 w 71"/>
                <a:gd name="T25" fmla="*/ 0 h 51"/>
                <a:gd name="T26" fmla="*/ 71 w 71"/>
                <a:gd name="T27" fmla="*/ 0 h 51"/>
                <a:gd name="T28" fmla="*/ 56 w 71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51">
                  <a:moveTo>
                    <a:pt x="56" y="51"/>
                  </a:moveTo>
                  <a:lnTo>
                    <a:pt x="56" y="51"/>
                  </a:lnTo>
                  <a:lnTo>
                    <a:pt x="46" y="51"/>
                  </a:lnTo>
                  <a:lnTo>
                    <a:pt x="36" y="15"/>
                  </a:lnTo>
                  <a:lnTo>
                    <a:pt x="26" y="51"/>
                  </a:lnTo>
                  <a:lnTo>
                    <a:pt x="16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1" y="40"/>
                  </a:lnTo>
                  <a:lnTo>
                    <a:pt x="31" y="4"/>
                  </a:lnTo>
                  <a:lnTo>
                    <a:pt x="41" y="4"/>
                  </a:lnTo>
                  <a:lnTo>
                    <a:pt x="51" y="40"/>
                  </a:lnTo>
                  <a:lnTo>
                    <a:pt x="61" y="0"/>
                  </a:lnTo>
                  <a:lnTo>
                    <a:pt x="71" y="0"/>
                  </a:lnTo>
                  <a:lnTo>
                    <a:pt x="56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9" name="Freeform 85"/>
            <p:cNvSpPr>
              <a:spLocks/>
            </p:cNvSpPr>
            <p:nvPr userDrawn="1"/>
          </p:nvSpPr>
          <p:spPr bwMode="auto">
            <a:xfrm>
              <a:off x="1357313" y="534988"/>
              <a:ext cx="11112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0" name="Freeform 86"/>
            <p:cNvSpPr>
              <a:spLocks/>
            </p:cNvSpPr>
            <p:nvPr userDrawn="1"/>
          </p:nvSpPr>
          <p:spPr bwMode="auto">
            <a:xfrm>
              <a:off x="1387475" y="533401"/>
              <a:ext cx="47625" cy="60325"/>
            </a:xfrm>
            <a:custGeom>
              <a:avLst/>
              <a:gdLst>
                <a:gd name="T0" fmla="*/ 24 w 43"/>
                <a:gd name="T1" fmla="*/ 53 h 53"/>
                <a:gd name="T2" fmla="*/ 24 w 43"/>
                <a:gd name="T3" fmla="*/ 53 h 53"/>
                <a:gd name="T4" fmla="*/ 0 w 43"/>
                <a:gd name="T5" fmla="*/ 26 h 53"/>
                <a:gd name="T6" fmla="*/ 24 w 43"/>
                <a:gd name="T7" fmla="*/ 0 h 53"/>
                <a:gd name="T8" fmla="*/ 42 w 43"/>
                <a:gd name="T9" fmla="*/ 6 h 53"/>
                <a:gd name="T10" fmla="*/ 38 w 43"/>
                <a:gd name="T11" fmla="*/ 13 h 53"/>
                <a:gd name="T12" fmla="*/ 24 w 43"/>
                <a:gd name="T13" fmla="*/ 7 h 53"/>
                <a:gd name="T14" fmla="*/ 9 w 43"/>
                <a:gd name="T15" fmla="*/ 26 h 53"/>
                <a:gd name="T16" fmla="*/ 25 w 43"/>
                <a:gd name="T17" fmla="*/ 46 h 53"/>
                <a:gd name="T18" fmla="*/ 34 w 43"/>
                <a:gd name="T19" fmla="*/ 44 h 53"/>
                <a:gd name="T20" fmla="*/ 34 w 43"/>
                <a:gd name="T21" fmla="*/ 31 h 53"/>
                <a:gd name="T22" fmla="*/ 23 w 43"/>
                <a:gd name="T23" fmla="*/ 31 h 53"/>
                <a:gd name="T24" fmla="*/ 23 w 43"/>
                <a:gd name="T25" fmla="*/ 24 h 53"/>
                <a:gd name="T26" fmla="*/ 43 w 43"/>
                <a:gd name="T27" fmla="*/ 24 h 53"/>
                <a:gd name="T28" fmla="*/ 43 w 43"/>
                <a:gd name="T29" fmla="*/ 48 h 53"/>
                <a:gd name="T30" fmla="*/ 24 w 43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53">
                  <a:moveTo>
                    <a:pt x="24" y="53"/>
                  </a:moveTo>
                  <a:lnTo>
                    <a:pt x="24" y="53"/>
                  </a:lnTo>
                  <a:cubicBezTo>
                    <a:pt x="9" y="53"/>
                    <a:pt x="0" y="42"/>
                    <a:pt x="0" y="26"/>
                  </a:cubicBezTo>
                  <a:cubicBezTo>
                    <a:pt x="0" y="8"/>
                    <a:pt x="13" y="0"/>
                    <a:pt x="24" y="0"/>
                  </a:cubicBezTo>
                  <a:cubicBezTo>
                    <a:pt x="33" y="0"/>
                    <a:pt x="38" y="3"/>
                    <a:pt x="42" y="6"/>
                  </a:cubicBezTo>
                  <a:lnTo>
                    <a:pt x="38" y="13"/>
                  </a:lnTo>
                  <a:cubicBezTo>
                    <a:pt x="35" y="10"/>
                    <a:pt x="31" y="7"/>
                    <a:pt x="24" y="7"/>
                  </a:cubicBezTo>
                  <a:cubicBezTo>
                    <a:pt x="16" y="7"/>
                    <a:pt x="9" y="14"/>
                    <a:pt x="9" y="26"/>
                  </a:cubicBezTo>
                  <a:cubicBezTo>
                    <a:pt x="9" y="38"/>
                    <a:pt x="16" y="46"/>
                    <a:pt x="25" y="46"/>
                  </a:cubicBezTo>
                  <a:cubicBezTo>
                    <a:pt x="30" y="46"/>
                    <a:pt x="33" y="45"/>
                    <a:pt x="34" y="44"/>
                  </a:cubicBezTo>
                  <a:lnTo>
                    <a:pt x="34" y="31"/>
                  </a:lnTo>
                  <a:lnTo>
                    <a:pt x="23" y="31"/>
                  </a:lnTo>
                  <a:lnTo>
                    <a:pt x="23" y="24"/>
                  </a:lnTo>
                  <a:lnTo>
                    <a:pt x="43" y="24"/>
                  </a:lnTo>
                  <a:lnTo>
                    <a:pt x="43" y="48"/>
                  </a:lnTo>
                  <a:cubicBezTo>
                    <a:pt x="39" y="51"/>
                    <a:pt x="33" y="53"/>
                    <a:pt x="24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1" name="Freeform 87"/>
            <p:cNvSpPr>
              <a:spLocks/>
            </p:cNvSpPr>
            <p:nvPr userDrawn="1"/>
          </p:nvSpPr>
          <p:spPr bwMode="auto">
            <a:xfrm>
              <a:off x="1449388" y="561976"/>
              <a:ext cx="22225" cy="7938"/>
            </a:xfrm>
            <a:custGeom>
              <a:avLst/>
              <a:gdLst>
                <a:gd name="T0" fmla="*/ 0 w 20"/>
                <a:gd name="T1" fmla="*/ 0 h 6"/>
                <a:gd name="T2" fmla="*/ 0 w 20"/>
                <a:gd name="T3" fmla="*/ 0 h 6"/>
                <a:gd name="T4" fmla="*/ 20 w 20"/>
                <a:gd name="T5" fmla="*/ 0 h 6"/>
                <a:gd name="T6" fmla="*/ 20 w 20"/>
                <a:gd name="T7" fmla="*/ 6 h 6"/>
                <a:gd name="T8" fmla="*/ 0 w 20"/>
                <a:gd name="T9" fmla="*/ 6 h 6"/>
                <a:gd name="T10" fmla="*/ 0 w 20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2" name="Freeform 88"/>
            <p:cNvSpPr>
              <a:spLocks/>
            </p:cNvSpPr>
            <p:nvPr userDrawn="1"/>
          </p:nvSpPr>
          <p:spPr bwMode="auto">
            <a:xfrm>
              <a:off x="1084263" y="639763"/>
              <a:ext cx="61912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3" name="Freeform 89"/>
            <p:cNvSpPr>
              <a:spLocks noEditPoints="1"/>
            </p:cNvSpPr>
            <p:nvPr userDrawn="1"/>
          </p:nvSpPr>
          <p:spPr bwMode="auto">
            <a:xfrm>
              <a:off x="1160463" y="639763"/>
              <a:ext cx="55562" cy="57150"/>
            </a:xfrm>
            <a:custGeom>
              <a:avLst/>
              <a:gdLst>
                <a:gd name="T0" fmla="*/ 25 w 50"/>
                <a:gd name="T1" fmla="*/ 10 h 51"/>
                <a:gd name="T2" fmla="*/ 25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5 w 50"/>
                <a:gd name="T9" fmla="*/ 10 h 51"/>
                <a:gd name="T10" fmla="*/ 25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5" y="10"/>
                  </a:moveTo>
                  <a:lnTo>
                    <a:pt x="25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5" y="10"/>
                  </a:lnTo>
                  <a:lnTo>
                    <a:pt x="25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4" name="Freeform 90"/>
            <p:cNvSpPr>
              <a:spLocks/>
            </p:cNvSpPr>
            <p:nvPr userDrawn="1"/>
          </p:nvSpPr>
          <p:spPr bwMode="auto">
            <a:xfrm>
              <a:off x="1223963" y="639763"/>
              <a:ext cx="57150" cy="57150"/>
            </a:xfrm>
            <a:custGeom>
              <a:avLst/>
              <a:gdLst>
                <a:gd name="T0" fmla="*/ 39 w 51"/>
                <a:gd name="T1" fmla="*/ 51 h 51"/>
                <a:gd name="T2" fmla="*/ 39 w 51"/>
                <a:gd name="T3" fmla="*/ 51 h 51"/>
                <a:gd name="T4" fmla="*/ 25 w 51"/>
                <a:gd name="T5" fmla="*/ 31 h 51"/>
                <a:gd name="T6" fmla="*/ 11 w 51"/>
                <a:gd name="T7" fmla="*/ 51 h 51"/>
                <a:gd name="T8" fmla="*/ 0 w 51"/>
                <a:gd name="T9" fmla="*/ 51 h 51"/>
                <a:gd name="T10" fmla="*/ 19 w 51"/>
                <a:gd name="T11" fmla="*/ 25 h 51"/>
                <a:gd name="T12" fmla="*/ 1 w 51"/>
                <a:gd name="T13" fmla="*/ 0 h 51"/>
                <a:gd name="T14" fmla="*/ 13 w 51"/>
                <a:gd name="T15" fmla="*/ 0 h 51"/>
                <a:gd name="T16" fmla="*/ 26 w 51"/>
                <a:gd name="T17" fmla="*/ 19 h 51"/>
                <a:gd name="T18" fmla="*/ 38 w 51"/>
                <a:gd name="T19" fmla="*/ 0 h 51"/>
                <a:gd name="T20" fmla="*/ 49 w 51"/>
                <a:gd name="T21" fmla="*/ 0 h 51"/>
                <a:gd name="T22" fmla="*/ 31 w 51"/>
                <a:gd name="T23" fmla="*/ 25 h 51"/>
                <a:gd name="T24" fmla="*/ 51 w 51"/>
                <a:gd name="T25" fmla="*/ 51 h 51"/>
                <a:gd name="T26" fmla="*/ 39 w 5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51">
                  <a:moveTo>
                    <a:pt x="39" y="51"/>
                  </a:moveTo>
                  <a:lnTo>
                    <a:pt x="39" y="51"/>
                  </a:lnTo>
                  <a:lnTo>
                    <a:pt x="25" y="31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9" y="25"/>
                  </a:lnTo>
                  <a:lnTo>
                    <a:pt x="1" y="0"/>
                  </a:lnTo>
                  <a:lnTo>
                    <a:pt x="13" y="0"/>
                  </a:lnTo>
                  <a:lnTo>
                    <a:pt x="26" y="19"/>
                  </a:lnTo>
                  <a:lnTo>
                    <a:pt x="38" y="0"/>
                  </a:lnTo>
                  <a:lnTo>
                    <a:pt x="49" y="0"/>
                  </a:lnTo>
                  <a:lnTo>
                    <a:pt x="31" y="25"/>
                  </a:lnTo>
                  <a:lnTo>
                    <a:pt x="51" y="51"/>
                  </a:lnTo>
                  <a:lnTo>
                    <a:pt x="39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5" name="Freeform 91"/>
            <p:cNvSpPr>
              <a:spLocks/>
            </p:cNvSpPr>
            <p:nvPr userDrawn="1"/>
          </p:nvSpPr>
          <p:spPr bwMode="auto">
            <a:xfrm>
              <a:off x="1296988" y="639763"/>
              <a:ext cx="9525" cy="57150"/>
            </a:xfrm>
            <a:custGeom>
              <a:avLst/>
              <a:gdLst>
                <a:gd name="T0" fmla="*/ 0 w 9"/>
                <a:gd name="T1" fmla="*/ 0 h 51"/>
                <a:gd name="T2" fmla="*/ 0 w 9"/>
                <a:gd name="T3" fmla="*/ 0 h 51"/>
                <a:gd name="T4" fmla="*/ 9 w 9"/>
                <a:gd name="T5" fmla="*/ 0 h 51"/>
                <a:gd name="T6" fmla="*/ 9 w 9"/>
                <a:gd name="T7" fmla="*/ 51 h 51"/>
                <a:gd name="T8" fmla="*/ 0 w 9"/>
                <a:gd name="T9" fmla="*/ 51 h 51"/>
                <a:gd name="T10" fmla="*/ 0 w 9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1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6" name="Freeform 92"/>
            <p:cNvSpPr>
              <a:spLocks/>
            </p:cNvSpPr>
            <p:nvPr userDrawn="1"/>
          </p:nvSpPr>
          <p:spPr bwMode="auto">
            <a:xfrm>
              <a:off x="1327150" y="639763"/>
              <a:ext cx="63500" cy="57150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3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3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3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3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7" name="Freeform 93"/>
            <p:cNvSpPr>
              <a:spLocks/>
            </p:cNvSpPr>
            <p:nvPr userDrawn="1"/>
          </p:nvSpPr>
          <p:spPr bwMode="auto">
            <a:xfrm>
              <a:off x="14112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8" name="Freeform 94"/>
            <p:cNvSpPr>
              <a:spLocks/>
            </p:cNvSpPr>
            <p:nvPr userDrawn="1"/>
          </p:nvSpPr>
          <p:spPr bwMode="auto">
            <a:xfrm>
              <a:off x="1444625" y="639763"/>
              <a:ext cx="38100" cy="57150"/>
            </a:xfrm>
            <a:custGeom>
              <a:avLst/>
              <a:gdLst>
                <a:gd name="T0" fmla="*/ 35 w 35"/>
                <a:gd name="T1" fmla="*/ 51 h 51"/>
                <a:gd name="T2" fmla="*/ 35 w 35"/>
                <a:gd name="T3" fmla="*/ 51 h 51"/>
                <a:gd name="T4" fmla="*/ 35 w 35"/>
                <a:gd name="T5" fmla="*/ 44 h 51"/>
                <a:gd name="T6" fmla="*/ 10 w 35"/>
                <a:gd name="T7" fmla="*/ 44 h 51"/>
                <a:gd name="T8" fmla="*/ 10 w 35"/>
                <a:gd name="T9" fmla="*/ 0 h 51"/>
                <a:gd name="T10" fmla="*/ 0 w 35"/>
                <a:gd name="T11" fmla="*/ 0 h 51"/>
                <a:gd name="T12" fmla="*/ 0 w 35"/>
                <a:gd name="T13" fmla="*/ 51 h 51"/>
                <a:gd name="T14" fmla="*/ 35 w 35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1">
                  <a:moveTo>
                    <a:pt x="35" y="51"/>
                  </a:moveTo>
                  <a:lnTo>
                    <a:pt x="35" y="51"/>
                  </a:lnTo>
                  <a:lnTo>
                    <a:pt x="35" y="44"/>
                  </a:lnTo>
                  <a:lnTo>
                    <a:pt x="10" y="44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51"/>
                  </a:lnTo>
                  <a:lnTo>
                    <a:pt x="35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9" name="Freeform 95"/>
            <p:cNvSpPr>
              <a:spLocks/>
            </p:cNvSpPr>
            <p:nvPr userDrawn="1"/>
          </p:nvSpPr>
          <p:spPr bwMode="auto">
            <a:xfrm>
              <a:off x="1500188" y="639763"/>
              <a:ext cx="11112" cy="57150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0" name="Freeform 96"/>
            <p:cNvSpPr>
              <a:spLocks noEditPoints="1"/>
            </p:cNvSpPr>
            <p:nvPr userDrawn="1"/>
          </p:nvSpPr>
          <p:spPr bwMode="auto">
            <a:xfrm>
              <a:off x="1527175" y="639763"/>
              <a:ext cx="53975" cy="57150"/>
            </a:xfrm>
            <a:custGeom>
              <a:avLst/>
              <a:gdLst>
                <a:gd name="T0" fmla="*/ 24 w 50"/>
                <a:gd name="T1" fmla="*/ 10 h 51"/>
                <a:gd name="T2" fmla="*/ 24 w 50"/>
                <a:gd name="T3" fmla="*/ 10 h 51"/>
                <a:gd name="T4" fmla="*/ 17 w 50"/>
                <a:gd name="T5" fmla="*/ 32 h 51"/>
                <a:gd name="T6" fmla="*/ 33 w 50"/>
                <a:gd name="T7" fmla="*/ 32 h 51"/>
                <a:gd name="T8" fmla="*/ 24 w 50"/>
                <a:gd name="T9" fmla="*/ 10 h 51"/>
                <a:gd name="T10" fmla="*/ 24 w 50"/>
                <a:gd name="T11" fmla="*/ 10 h 51"/>
                <a:gd name="T12" fmla="*/ 40 w 50"/>
                <a:gd name="T13" fmla="*/ 51 h 51"/>
                <a:gd name="T14" fmla="*/ 40 w 50"/>
                <a:gd name="T15" fmla="*/ 51 h 51"/>
                <a:gd name="T16" fmla="*/ 35 w 50"/>
                <a:gd name="T17" fmla="*/ 39 h 51"/>
                <a:gd name="T18" fmla="*/ 14 w 50"/>
                <a:gd name="T19" fmla="*/ 39 h 51"/>
                <a:gd name="T20" fmla="*/ 10 w 50"/>
                <a:gd name="T21" fmla="*/ 51 h 51"/>
                <a:gd name="T22" fmla="*/ 0 w 50"/>
                <a:gd name="T23" fmla="*/ 51 h 51"/>
                <a:gd name="T24" fmla="*/ 20 w 50"/>
                <a:gd name="T25" fmla="*/ 0 h 51"/>
                <a:gd name="T26" fmla="*/ 30 w 50"/>
                <a:gd name="T27" fmla="*/ 0 h 51"/>
                <a:gd name="T28" fmla="*/ 50 w 50"/>
                <a:gd name="T29" fmla="*/ 51 h 51"/>
                <a:gd name="T30" fmla="*/ 40 w 50"/>
                <a:gd name="T3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1">
                  <a:moveTo>
                    <a:pt x="24" y="10"/>
                  </a:moveTo>
                  <a:lnTo>
                    <a:pt x="24" y="10"/>
                  </a:lnTo>
                  <a:lnTo>
                    <a:pt x="17" y="32"/>
                  </a:lnTo>
                  <a:lnTo>
                    <a:pt x="33" y="32"/>
                  </a:lnTo>
                  <a:lnTo>
                    <a:pt x="24" y="10"/>
                  </a:lnTo>
                  <a:lnTo>
                    <a:pt x="24" y="10"/>
                  </a:lnTo>
                  <a:close/>
                  <a:moveTo>
                    <a:pt x="40" y="51"/>
                  </a:moveTo>
                  <a:lnTo>
                    <a:pt x="40" y="51"/>
                  </a:lnTo>
                  <a:lnTo>
                    <a:pt x="35" y="39"/>
                  </a:lnTo>
                  <a:lnTo>
                    <a:pt x="14" y="3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50" y="51"/>
                  </a:lnTo>
                  <a:lnTo>
                    <a:pt x="4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1" name="Freeform 97"/>
            <p:cNvSpPr>
              <a:spLocks/>
            </p:cNvSpPr>
            <p:nvPr userDrawn="1"/>
          </p:nvSpPr>
          <p:spPr bwMode="auto">
            <a:xfrm>
              <a:off x="1597025" y="639763"/>
              <a:ext cx="47625" cy="57150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2" name="Freeform 98"/>
            <p:cNvSpPr>
              <a:spLocks/>
            </p:cNvSpPr>
            <p:nvPr userDrawn="1"/>
          </p:nvSpPr>
          <p:spPr bwMode="auto">
            <a:xfrm>
              <a:off x="1662113" y="638176"/>
              <a:ext cx="42862" cy="60325"/>
            </a:xfrm>
            <a:custGeom>
              <a:avLst/>
              <a:gdLst>
                <a:gd name="T0" fmla="*/ 38 w 38"/>
                <a:gd name="T1" fmla="*/ 38 h 53"/>
                <a:gd name="T2" fmla="*/ 38 w 38"/>
                <a:gd name="T3" fmla="*/ 38 h 53"/>
                <a:gd name="T4" fmla="*/ 28 w 38"/>
                <a:gd name="T5" fmla="*/ 24 h 53"/>
                <a:gd name="T6" fmla="*/ 18 w 38"/>
                <a:gd name="T7" fmla="*/ 20 h 53"/>
                <a:gd name="T8" fmla="*/ 11 w 38"/>
                <a:gd name="T9" fmla="*/ 13 h 53"/>
                <a:gd name="T10" fmla="*/ 19 w 38"/>
                <a:gd name="T11" fmla="*/ 7 h 53"/>
                <a:gd name="T12" fmla="*/ 32 w 38"/>
                <a:gd name="T13" fmla="*/ 14 h 53"/>
                <a:gd name="T14" fmla="*/ 36 w 38"/>
                <a:gd name="T15" fmla="*/ 7 h 53"/>
                <a:gd name="T16" fmla="*/ 19 w 38"/>
                <a:gd name="T17" fmla="*/ 0 h 53"/>
                <a:gd name="T18" fmla="*/ 1 w 38"/>
                <a:gd name="T19" fmla="*/ 15 h 53"/>
                <a:gd name="T20" fmla="*/ 11 w 38"/>
                <a:gd name="T21" fmla="*/ 28 h 53"/>
                <a:gd name="T22" fmla="*/ 21 w 38"/>
                <a:gd name="T23" fmla="*/ 32 h 53"/>
                <a:gd name="T24" fmla="*/ 28 w 38"/>
                <a:gd name="T25" fmla="*/ 39 h 53"/>
                <a:gd name="T26" fmla="*/ 19 w 38"/>
                <a:gd name="T27" fmla="*/ 46 h 53"/>
                <a:gd name="T28" fmla="*/ 4 w 38"/>
                <a:gd name="T29" fmla="*/ 39 h 53"/>
                <a:gd name="T30" fmla="*/ 0 w 38"/>
                <a:gd name="T31" fmla="*/ 46 h 53"/>
                <a:gd name="T32" fmla="*/ 19 w 38"/>
                <a:gd name="T33" fmla="*/ 53 h 53"/>
                <a:gd name="T34" fmla="*/ 38 w 38"/>
                <a:gd name="T3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38" y="38"/>
                  </a:moveTo>
                  <a:lnTo>
                    <a:pt x="38" y="38"/>
                  </a:lnTo>
                  <a:cubicBezTo>
                    <a:pt x="38" y="30"/>
                    <a:pt x="33" y="27"/>
                    <a:pt x="28" y="24"/>
                  </a:cubicBezTo>
                  <a:lnTo>
                    <a:pt x="18" y="20"/>
                  </a:lnTo>
                  <a:cubicBezTo>
                    <a:pt x="14" y="19"/>
                    <a:pt x="11" y="17"/>
                    <a:pt x="11" y="13"/>
                  </a:cubicBezTo>
                  <a:cubicBezTo>
                    <a:pt x="11" y="10"/>
                    <a:pt x="14" y="7"/>
                    <a:pt x="19" y="7"/>
                  </a:cubicBezTo>
                  <a:cubicBezTo>
                    <a:pt x="26" y="7"/>
                    <a:pt x="29" y="10"/>
                    <a:pt x="32" y="14"/>
                  </a:cubicBezTo>
                  <a:lnTo>
                    <a:pt x="36" y="7"/>
                  </a:lnTo>
                  <a:cubicBezTo>
                    <a:pt x="32" y="3"/>
                    <a:pt x="26" y="0"/>
                    <a:pt x="19" y="0"/>
                  </a:cubicBezTo>
                  <a:cubicBezTo>
                    <a:pt x="11" y="0"/>
                    <a:pt x="1" y="5"/>
                    <a:pt x="1" y="15"/>
                  </a:cubicBezTo>
                  <a:cubicBezTo>
                    <a:pt x="1" y="21"/>
                    <a:pt x="6" y="25"/>
                    <a:pt x="11" y="28"/>
                  </a:cubicBezTo>
                  <a:lnTo>
                    <a:pt x="21" y="32"/>
                  </a:lnTo>
                  <a:cubicBezTo>
                    <a:pt x="25" y="34"/>
                    <a:pt x="28" y="36"/>
                    <a:pt x="28" y="39"/>
                  </a:cubicBezTo>
                  <a:cubicBezTo>
                    <a:pt x="28" y="43"/>
                    <a:pt x="25" y="46"/>
                    <a:pt x="19" y="46"/>
                  </a:cubicBezTo>
                  <a:cubicBezTo>
                    <a:pt x="12" y="46"/>
                    <a:pt x="8" y="44"/>
                    <a:pt x="4" y="39"/>
                  </a:cubicBezTo>
                  <a:lnTo>
                    <a:pt x="0" y="46"/>
                  </a:lnTo>
                  <a:cubicBezTo>
                    <a:pt x="3" y="49"/>
                    <a:pt x="8" y="53"/>
                    <a:pt x="19" y="53"/>
                  </a:cubicBezTo>
                  <a:cubicBezTo>
                    <a:pt x="34" y="53"/>
                    <a:pt x="38" y="43"/>
                    <a:pt x="38" y="38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3" name="Freeform 99"/>
            <p:cNvSpPr>
              <a:spLocks/>
            </p:cNvSpPr>
            <p:nvPr userDrawn="1"/>
          </p:nvSpPr>
          <p:spPr bwMode="auto">
            <a:xfrm>
              <a:off x="1717675" y="666751"/>
              <a:ext cx="22225" cy="7938"/>
            </a:xfrm>
            <a:custGeom>
              <a:avLst/>
              <a:gdLst>
                <a:gd name="T0" fmla="*/ 0 w 20"/>
                <a:gd name="T1" fmla="*/ 0 h 7"/>
                <a:gd name="T2" fmla="*/ 0 w 20"/>
                <a:gd name="T3" fmla="*/ 0 h 7"/>
                <a:gd name="T4" fmla="*/ 20 w 20"/>
                <a:gd name="T5" fmla="*/ 0 h 7"/>
                <a:gd name="T6" fmla="*/ 20 w 20"/>
                <a:gd name="T7" fmla="*/ 7 h 7"/>
                <a:gd name="T8" fmla="*/ 0 w 20"/>
                <a:gd name="T9" fmla="*/ 7 h 7"/>
                <a:gd name="T10" fmla="*/ 0 w 20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7">
                  <a:moveTo>
                    <a:pt x="0" y="0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7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4" name="Freeform 100"/>
            <p:cNvSpPr>
              <a:spLocks/>
            </p:cNvSpPr>
            <p:nvPr userDrawn="1"/>
          </p:nvSpPr>
          <p:spPr bwMode="auto">
            <a:xfrm>
              <a:off x="1084263" y="744538"/>
              <a:ext cx="46037" cy="58738"/>
            </a:xfrm>
            <a:custGeom>
              <a:avLst/>
              <a:gdLst>
                <a:gd name="T0" fmla="*/ 21 w 42"/>
                <a:gd name="T1" fmla="*/ 52 h 52"/>
                <a:gd name="T2" fmla="*/ 21 w 42"/>
                <a:gd name="T3" fmla="*/ 52 h 52"/>
                <a:gd name="T4" fmla="*/ 0 w 42"/>
                <a:gd name="T5" fmla="*/ 30 h 52"/>
                <a:gd name="T6" fmla="*/ 0 w 42"/>
                <a:gd name="T7" fmla="*/ 0 h 52"/>
                <a:gd name="T8" fmla="*/ 9 w 42"/>
                <a:gd name="T9" fmla="*/ 0 h 52"/>
                <a:gd name="T10" fmla="*/ 9 w 42"/>
                <a:gd name="T11" fmla="*/ 31 h 52"/>
                <a:gd name="T12" fmla="*/ 21 w 42"/>
                <a:gd name="T13" fmla="*/ 45 h 52"/>
                <a:gd name="T14" fmla="*/ 33 w 42"/>
                <a:gd name="T15" fmla="*/ 31 h 52"/>
                <a:gd name="T16" fmla="*/ 33 w 42"/>
                <a:gd name="T17" fmla="*/ 0 h 52"/>
                <a:gd name="T18" fmla="*/ 42 w 42"/>
                <a:gd name="T19" fmla="*/ 0 h 52"/>
                <a:gd name="T20" fmla="*/ 42 w 42"/>
                <a:gd name="T21" fmla="*/ 30 h 52"/>
                <a:gd name="T22" fmla="*/ 21 w 42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52">
                  <a:moveTo>
                    <a:pt x="21" y="52"/>
                  </a:moveTo>
                  <a:lnTo>
                    <a:pt x="21" y="52"/>
                  </a:lnTo>
                  <a:cubicBezTo>
                    <a:pt x="10" y="52"/>
                    <a:pt x="0" y="48"/>
                    <a:pt x="0" y="30"/>
                  </a:cubicBezTo>
                  <a:lnTo>
                    <a:pt x="0" y="0"/>
                  </a:lnTo>
                  <a:lnTo>
                    <a:pt x="9" y="0"/>
                  </a:lnTo>
                  <a:lnTo>
                    <a:pt x="9" y="31"/>
                  </a:lnTo>
                  <a:cubicBezTo>
                    <a:pt x="9" y="39"/>
                    <a:pt x="13" y="45"/>
                    <a:pt x="21" y="45"/>
                  </a:cubicBezTo>
                  <a:cubicBezTo>
                    <a:pt x="29" y="45"/>
                    <a:pt x="33" y="40"/>
                    <a:pt x="33" y="31"/>
                  </a:cubicBezTo>
                  <a:lnTo>
                    <a:pt x="33" y="0"/>
                  </a:lnTo>
                  <a:lnTo>
                    <a:pt x="42" y="0"/>
                  </a:lnTo>
                  <a:lnTo>
                    <a:pt x="42" y="30"/>
                  </a:lnTo>
                  <a:cubicBezTo>
                    <a:pt x="42" y="46"/>
                    <a:pt x="32" y="52"/>
                    <a:pt x="21" y="52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5" name="Freeform 101"/>
            <p:cNvSpPr>
              <a:spLocks/>
            </p:cNvSpPr>
            <p:nvPr userDrawn="1"/>
          </p:nvSpPr>
          <p:spPr bwMode="auto">
            <a:xfrm>
              <a:off x="1152525" y="744538"/>
              <a:ext cx="47625" cy="58738"/>
            </a:xfrm>
            <a:custGeom>
              <a:avLst/>
              <a:gdLst>
                <a:gd name="T0" fmla="*/ 30 w 43"/>
                <a:gd name="T1" fmla="*/ 51 h 51"/>
                <a:gd name="T2" fmla="*/ 30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3 w 43"/>
                <a:gd name="T15" fmla="*/ 38 h 51"/>
                <a:gd name="T16" fmla="*/ 33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0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0" y="51"/>
                  </a:moveTo>
                  <a:lnTo>
                    <a:pt x="30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3" y="38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6" name="Freeform 102"/>
            <p:cNvSpPr>
              <a:spLocks/>
            </p:cNvSpPr>
            <p:nvPr userDrawn="1"/>
          </p:nvSpPr>
          <p:spPr bwMode="auto">
            <a:xfrm>
              <a:off x="1222375" y="744538"/>
              <a:ext cx="11112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7" name="Freeform 103"/>
            <p:cNvSpPr>
              <a:spLocks/>
            </p:cNvSpPr>
            <p:nvPr userDrawn="1"/>
          </p:nvSpPr>
          <p:spPr bwMode="auto">
            <a:xfrm>
              <a:off x="1246188" y="744538"/>
              <a:ext cx="57150" cy="58738"/>
            </a:xfrm>
            <a:custGeom>
              <a:avLst/>
              <a:gdLst>
                <a:gd name="T0" fmla="*/ 31 w 51"/>
                <a:gd name="T1" fmla="*/ 51 h 51"/>
                <a:gd name="T2" fmla="*/ 31 w 51"/>
                <a:gd name="T3" fmla="*/ 51 h 51"/>
                <a:gd name="T4" fmla="*/ 20 w 51"/>
                <a:gd name="T5" fmla="*/ 51 h 51"/>
                <a:gd name="T6" fmla="*/ 0 w 51"/>
                <a:gd name="T7" fmla="*/ 0 h 51"/>
                <a:gd name="T8" fmla="*/ 11 w 51"/>
                <a:gd name="T9" fmla="*/ 0 h 51"/>
                <a:gd name="T10" fmla="*/ 26 w 51"/>
                <a:gd name="T11" fmla="*/ 41 h 51"/>
                <a:gd name="T12" fmla="*/ 41 w 51"/>
                <a:gd name="T13" fmla="*/ 0 h 51"/>
                <a:gd name="T14" fmla="*/ 51 w 51"/>
                <a:gd name="T15" fmla="*/ 0 h 51"/>
                <a:gd name="T16" fmla="*/ 31 w 51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31" y="51"/>
                  </a:moveTo>
                  <a:lnTo>
                    <a:pt x="31" y="51"/>
                  </a:lnTo>
                  <a:lnTo>
                    <a:pt x="20" y="5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6" y="41"/>
                  </a:lnTo>
                  <a:lnTo>
                    <a:pt x="41" y="0"/>
                  </a:lnTo>
                  <a:lnTo>
                    <a:pt x="51" y="0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8" name="Freeform 104"/>
            <p:cNvSpPr>
              <a:spLocks/>
            </p:cNvSpPr>
            <p:nvPr userDrawn="1"/>
          </p:nvSpPr>
          <p:spPr bwMode="auto">
            <a:xfrm>
              <a:off x="1317625" y="744538"/>
              <a:ext cx="39687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7 h 51"/>
                <a:gd name="T10" fmla="*/ 9 w 35"/>
                <a:gd name="T11" fmla="*/ 7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7"/>
                  </a:lnTo>
                  <a:lnTo>
                    <a:pt x="9" y="7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9" name="Freeform 105"/>
            <p:cNvSpPr>
              <a:spLocks noEditPoints="1"/>
            </p:cNvSpPr>
            <p:nvPr userDrawn="1"/>
          </p:nvSpPr>
          <p:spPr bwMode="auto">
            <a:xfrm>
              <a:off x="1374775" y="744538"/>
              <a:ext cx="44450" cy="58738"/>
            </a:xfrm>
            <a:custGeom>
              <a:avLst/>
              <a:gdLst>
                <a:gd name="T0" fmla="*/ 18 w 41"/>
                <a:gd name="T1" fmla="*/ 7 h 51"/>
                <a:gd name="T2" fmla="*/ 18 w 41"/>
                <a:gd name="T3" fmla="*/ 7 h 51"/>
                <a:gd name="T4" fmla="*/ 10 w 41"/>
                <a:gd name="T5" fmla="*/ 7 h 51"/>
                <a:gd name="T6" fmla="*/ 10 w 41"/>
                <a:gd name="T7" fmla="*/ 22 h 51"/>
                <a:gd name="T8" fmla="*/ 18 w 41"/>
                <a:gd name="T9" fmla="*/ 22 h 51"/>
                <a:gd name="T10" fmla="*/ 27 w 41"/>
                <a:gd name="T11" fmla="*/ 14 h 51"/>
                <a:gd name="T12" fmla="*/ 18 w 41"/>
                <a:gd name="T13" fmla="*/ 7 h 51"/>
                <a:gd name="T14" fmla="*/ 18 w 41"/>
                <a:gd name="T15" fmla="*/ 7 h 51"/>
                <a:gd name="T16" fmla="*/ 30 w 41"/>
                <a:gd name="T17" fmla="*/ 51 h 51"/>
                <a:gd name="T18" fmla="*/ 30 w 41"/>
                <a:gd name="T19" fmla="*/ 51 h 51"/>
                <a:gd name="T20" fmla="*/ 20 w 41"/>
                <a:gd name="T21" fmla="*/ 35 h 51"/>
                <a:gd name="T22" fmla="*/ 12 w 41"/>
                <a:gd name="T23" fmla="*/ 29 h 51"/>
                <a:gd name="T24" fmla="*/ 10 w 41"/>
                <a:gd name="T25" fmla="*/ 29 h 51"/>
                <a:gd name="T26" fmla="*/ 10 w 41"/>
                <a:gd name="T27" fmla="*/ 51 h 51"/>
                <a:gd name="T28" fmla="*/ 0 w 41"/>
                <a:gd name="T29" fmla="*/ 51 h 51"/>
                <a:gd name="T30" fmla="*/ 0 w 41"/>
                <a:gd name="T31" fmla="*/ 0 h 51"/>
                <a:gd name="T32" fmla="*/ 20 w 41"/>
                <a:gd name="T33" fmla="*/ 0 h 51"/>
                <a:gd name="T34" fmla="*/ 37 w 41"/>
                <a:gd name="T35" fmla="*/ 14 h 51"/>
                <a:gd name="T36" fmla="*/ 24 w 41"/>
                <a:gd name="T37" fmla="*/ 28 h 51"/>
                <a:gd name="T38" fmla="*/ 28 w 41"/>
                <a:gd name="T39" fmla="*/ 32 h 51"/>
                <a:gd name="T40" fmla="*/ 41 w 41"/>
                <a:gd name="T41" fmla="*/ 51 h 51"/>
                <a:gd name="T42" fmla="*/ 30 w 41"/>
                <a:gd name="T4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1">
                  <a:moveTo>
                    <a:pt x="18" y="7"/>
                  </a:moveTo>
                  <a:lnTo>
                    <a:pt x="18" y="7"/>
                  </a:lnTo>
                  <a:lnTo>
                    <a:pt x="10" y="7"/>
                  </a:lnTo>
                  <a:lnTo>
                    <a:pt x="10" y="22"/>
                  </a:lnTo>
                  <a:lnTo>
                    <a:pt x="18" y="22"/>
                  </a:lnTo>
                  <a:cubicBezTo>
                    <a:pt x="25" y="22"/>
                    <a:pt x="27" y="18"/>
                    <a:pt x="27" y="14"/>
                  </a:cubicBezTo>
                  <a:cubicBezTo>
                    <a:pt x="27" y="10"/>
                    <a:pt x="24" y="7"/>
                    <a:pt x="18" y="7"/>
                  </a:cubicBezTo>
                  <a:lnTo>
                    <a:pt x="18" y="7"/>
                  </a:lnTo>
                  <a:close/>
                  <a:moveTo>
                    <a:pt x="30" y="51"/>
                  </a:moveTo>
                  <a:lnTo>
                    <a:pt x="30" y="51"/>
                  </a:lnTo>
                  <a:lnTo>
                    <a:pt x="20" y="35"/>
                  </a:lnTo>
                  <a:cubicBezTo>
                    <a:pt x="17" y="31"/>
                    <a:pt x="15" y="29"/>
                    <a:pt x="12" y="29"/>
                  </a:cubicBezTo>
                  <a:lnTo>
                    <a:pt x="10" y="29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20" y="0"/>
                  </a:lnTo>
                  <a:cubicBezTo>
                    <a:pt x="29" y="0"/>
                    <a:pt x="37" y="4"/>
                    <a:pt x="37" y="14"/>
                  </a:cubicBezTo>
                  <a:cubicBezTo>
                    <a:pt x="37" y="24"/>
                    <a:pt x="28" y="27"/>
                    <a:pt x="24" y="28"/>
                  </a:cubicBezTo>
                  <a:cubicBezTo>
                    <a:pt x="25" y="29"/>
                    <a:pt x="27" y="31"/>
                    <a:pt x="28" y="32"/>
                  </a:cubicBezTo>
                  <a:lnTo>
                    <a:pt x="41" y="51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0" name="Freeform 106"/>
            <p:cNvSpPr>
              <a:spLocks/>
            </p:cNvSpPr>
            <p:nvPr userDrawn="1"/>
          </p:nvSpPr>
          <p:spPr bwMode="auto">
            <a:xfrm>
              <a:off x="1430338" y="744538"/>
              <a:ext cx="42862" cy="58738"/>
            </a:xfrm>
            <a:custGeom>
              <a:avLst/>
              <a:gdLst>
                <a:gd name="T0" fmla="*/ 18 w 38"/>
                <a:gd name="T1" fmla="*/ 53 h 53"/>
                <a:gd name="T2" fmla="*/ 18 w 38"/>
                <a:gd name="T3" fmla="*/ 53 h 53"/>
                <a:gd name="T4" fmla="*/ 0 w 38"/>
                <a:gd name="T5" fmla="*/ 45 h 53"/>
                <a:gd name="T6" fmla="*/ 4 w 38"/>
                <a:gd name="T7" fmla="*/ 39 h 53"/>
                <a:gd name="T8" fmla="*/ 19 w 38"/>
                <a:gd name="T9" fmla="*/ 46 h 53"/>
                <a:gd name="T10" fmla="*/ 28 w 38"/>
                <a:gd name="T11" fmla="*/ 39 h 53"/>
                <a:gd name="T12" fmla="*/ 21 w 38"/>
                <a:gd name="T13" fmla="*/ 31 h 53"/>
                <a:gd name="T14" fmla="*/ 11 w 38"/>
                <a:gd name="T15" fmla="*/ 27 h 53"/>
                <a:gd name="T16" fmla="*/ 1 w 38"/>
                <a:gd name="T17" fmla="*/ 14 h 53"/>
                <a:gd name="T18" fmla="*/ 19 w 38"/>
                <a:gd name="T19" fmla="*/ 0 h 53"/>
                <a:gd name="T20" fmla="*/ 36 w 38"/>
                <a:gd name="T21" fmla="*/ 7 h 53"/>
                <a:gd name="T22" fmla="*/ 32 w 38"/>
                <a:gd name="T23" fmla="*/ 13 h 53"/>
                <a:gd name="T24" fmla="*/ 19 w 38"/>
                <a:gd name="T25" fmla="*/ 7 h 53"/>
                <a:gd name="T26" fmla="*/ 11 w 38"/>
                <a:gd name="T27" fmla="*/ 13 h 53"/>
                <a:gd name="T28" fmla="*/ 17 w 38"/>
                <a:gd name="T29" fmla="*/ 19 h 53"/>
                <a:gd name="T30" fmla="*/ 28 w 38"/>
                <a:gd name="T31" fmla="*/ 24 h 53"/>
                <a:gd name="T32" fmla="*/ 38 w 38"/>
                <a:gd name="T33" fmla="*/ 38 h 53"/>
                <a:gd name="T34" fmla="*/ 18 w 38"/>
                <a:gd name="T3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3">
                  <a:moveTo>
                    <a:pt x="18" y="53"/>
                  </a:moveTo>
                  <a:lnTo>
                    <a:pt x="18" y="53"/>
                  </a:lnTo>
                  <a:cubicBezTo>
                    <a:pt x="8" y="53"/>
                    <a:pt x="3" y="48"/>
                    <a:pt x="0" y="45"/>
                  </a:cubicBezTo>
                  <a:lnTo>
                    <a:pt x="4" y="39"/>
                  </a:lnTo>
                  <a:cubicBezTo>
                    <a:pt x="8" y="43"/>
                    <a:pt x="12" y="46"/>
                    <a:pt x="19" y="46"/>
                  </a:cubicBezTo>
                  <a:cubicBezTo>
                    <a:pt x="25" y="46"/>
                    <a:pt x="28" y="42"/>
                    <a:pt x="28" y="39"/>
                  </a:cubicBezTo>
                  <a:cubicBezTo>
                    <a:pt x="28" y="35"/>
                    <a:pt x="25" y="33"/>
                    <a:pt x="21" y="31"/>
                  </a:cubicBezTo>
                  <a:lnTo>
                    <a:pt x="11" y="27"/>
                  </a:lnTo>
                  <a:cubicBezTo>
                    <a:pt x="6" y="25"/>
                    <a:pt x="1" y="21"/>
                    <a:pt x="1" y="14"/>
                  </a:cubicBezTo>
                  <a:cubicBezTo>
                    <a:pt x="1" y="5"/>
                    <a:pt x="11" y="0"/>
                    <a:pt x="19" y="0"/>
                  </a:cubicBezTo>
                  <a:cubicBezTo>
                    <a:pt x="26" y="0"/>
                    <a:pt x="32" y="2"/>
                    <a:pt x="36" y="7"/>
                  </a:cubicBezTo>
                  <a:lnTo>
                    <a:pt x="32" y="13"/>
                  </a:lnTo>
                  <a:cubicBezTo>
                    <a:pt x="29" y="9"/>
                    <a:pt x="26" y="7"/>
                    <a:pt x="19" y="7"/>
                  </a:cubicBezTo>
                  <a:cubicBezTo>
                    <a:pt x="14" y="7"/>
                    <a:pt x="11" y="10"/>
                    <a:pt x="11" y="13"/>
                  </a:cubicBezTo>
                  <a:cubicBezTo>
                    <a:pt x="11" y="16"/>
                    <a:pt x="14" y="18"/>
                    <a:pt x="17" y="19"/>
                  </a:cubicBezTo>
                  <a:lnTo>
                    <a:pt x="28" y="24"/>
                  </a:lnTo>
                  <a:cubicBezTo>
                    <a:pt x="33" y="26"/>
                    <a:pt x="38" y="30"/>
                    <a:pt x="38" y="38"/>
                  </a:cubicBezTo>
                  <a:cubicBezTo>
                    <a:pt x="38" y="43"/>
                    <a:pt x="34" y="53"/>
                    <a:pt x="18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1" name="Freeform 107"/>
            <p:cNvSpPr>
              <a:spLocks/>
            </p:cNvSpPr>
            <p:nvPr userDrawn="1"/>
          </p:nvSpPr>
          <p:spPr bwMode="auto">
            <a:xfrm>
              <a:off x="1492250" y="744538"/>
              <a:ext cx="9525" cy="58738"/>
            </a:xfrm>
            <a:custGeom>
              <a:avLst/>
              <a:gdLst>
                <a:gd name="T0" fmla="*/ 0 w 10"/>
                <a:gd name="T1" fmla="*/ 0 h 51"/>
                <a:gd name="T2" fmla="*/ 0 w 10"/>
                <a:gd name="T3" fmla="*/ 0 h 51"/>
                <a:gd name="T4" fmla="*/ 10 w 10"/>
                <a:gd name="T5" fmla="*/ 0 h 51"/>
                <a:gd name="T6" fmla="*/ 10 w 10"/>
                <a:gd name="T7" fmla="*/ 51 h 51"/>
                <a:gd name="T8" fmla="*/ 0 w 10"/>
                <a:gd name="T9" fmla="*/ 51 h 51"/>
                <a:gd name="T10" fmla="*/ 0 w 10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1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2" name="Freeform 108"/>
            <p:cNvSpPr>
              <a:spLocks/>
            </p:cNvSpPr>
            <p:nvPr userDrawn="1"/>
          </p:nvSpPr>
          <p:spPr bwMode="auto">
            <a:xfrm>
              <a:off x="1517650" y="744538"/>
              <a:ext cx="49212" cy="58738"/>
            </a:xfrm>
            <a:custGeom>
              <a:avLst/>
              <a:gdLst>
                <a:gd name="T0" fmla="*/ 26 w 44"/>
                <a:gd name="T1" fmla="*/ 7 h 51"/>
                <a:gd name="T2" fmla="*/ 26 w 44"/>
                <a:gd name="T3" fmla="*/ 7 h 51"/>
                <a:gd name="T4" fmla="*/ 26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6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6" y="7"/>
                  </a:moveTo>
                  <a:lnTo>
                    <a:pt x="26" y="7"/>
                  </a:lnTo>
                  <a:lnTo>
                    <a:pt x="26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6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3" name="Freeform 109"/>
            <p:cNvSpPr>
              <a:spLocks noEditPoints="1"/>
            </p:cNvSpPr>
            <p:nvPr userDrawn="1"/>
          </p:nvSpPr>
          <p:spPr bwMode="auto">
            <a:xfrm>
              <a:off x="1574800" y="728663"/>
              <a:ext cx="55562" cy="74613"/>
            </a:xfrm>
            <a:custGeom>
              <a:avLst/>
              <a:gdLst>
                <a:gd name="T0" fmla="*/ 32 w 51"/>
                <a:gd name="T1" fmla="*/ 10 h 66"/>
                <a:gd name="T2" fmla="*/ 32 w 51"/>
                <a:gd name="T3" fmla="*/ 10 h 66"/>
                <a:gd name="T4" fmla="*/ 27 w 51"/>
                <a:gd name="T5" fmla="*/ 5 h 66"/>
                <a:gd name="T6" fmla="*/ 32 w 51"/>
                <a:gd name="T7" fmla="*/ 0 h 66"/>
                <a:gd name="T8" fmla="*/ 37 w 51"/>
                <a:gd name="T9" fmla="*/ 5 h 66"/>
                <a:gd name="T10" fmla="*/ 32 w 51"/>
                <a:gd name="T11" fmla="*/ 10 h 66"/>
                <a:gd name="T12" fmla="*/ 32 w 51"/>
                <a:gd name="T13" fmla="*/ 10 h 66"/>
                <a:gd name="T14" fmla="*/ 25 w 51"/>
                <a:gd name="T15" fmla="*/ 24 h 66"/>
                <a:gd name="T16" fmla="*/ 25 w 51"/>
                <a:gd name="T17" fmla="*/ 24 h 66"/>
                <a:gd name="T18" fmla="*/ 17 w 51"/>
                <a:gd name="T19" fmla="*/ 46 h 66"/>
                <a:gd name="T20" fmla="*/ 33 w 51"/>
                <a:gd name="T21" fmla="*/ 46 h 66"/>
                <a:gd name="T22" fmla="*/ 25 w 51"/>
                <a:gd name="T23" fmla="*/ 24 h 66"/>
                <a:gd name="T24" fmla="*/ 25 w 51"/>
                <a:gd name="T25" fmla="*/ 24 h 66"/>
                <a:gd name="T26" fmla="*/ 18 w 51"/>
                <a:gd name="T27" fmla="*/ 10 h 66"/>
                <a:gd name="T28" fmla="*/ 18 w 51"/>
                <a:gd name="T29" fmla="*/ 10 h 66"/>
                <a:gd name="T30" fmla="*/ 13 w 51"/>
                <a:gd name="T31" fmla="*/ 5 h 66"/>
                <a:gd name="T32" fmla="*/ 18 w 51"/>
                <a:gd name="T33" fmla="*/ 0 h 66"/>
                <a:gd name="T34" fmla="*/ 23 w 51"/>
                <a:gd name="T35" fmla="*/ 5 h 66"/>
                <a:gd name="T36" fmla="*/ 18 w 51"/>
                <a:gd name="T37" fmla="*/ 10 h 66"/>
                <a:gd name="T38" fmla="*/ 18 w 51"/>
                <a:gd name="T39" fmla="*/ 10 h 66"/>
                <a:gd name="T40" fmla="*/ 40 w 51"/>
                <a:gd name="T41" fmla="*/ 66 h 66"/>
                <a:gd name="T42" fmla="*/ 40 w 51"/>
                <a:gd name="T43" fmla="*/ 66 h 66"/>
                <a:gd name="T44" fmla="*/ 36 w 51"/>
                <a:gd name="T45" fmla="*/ 53 h 66"/>
                <a:gd name="T46" fmla="*/ 15 w 51"/>
                <a:gd name="T47" fmla="*/ 53 h 66"/>
                <a:gd name="T48" fmla="*/ 10 w 51"/>
                <a:gd name="T49" fmla="*/ 66 h 66"/>
                <a:gd name="T50" fmla="*/ 0 w 51"/>
                <a:gd name="T51" fmla="*/ 66 h 66"/>
                <a:gd name="T52" fmla="*/ 20 w 51"/>
                <a:gd name="T53" fmla="*/ 15 h 66"/>
                <a:gd name="T54" fmla="*/ 30 w 51"/>
                <a:gd name="T55" fmla="*/ 15 h 66"/>
                <a:gd name="T56" fmla="*/ 51 w 51"/>
                <a:gd name="T57" fmla="*/ 66 h 66"/>
                <a:gd name="T58" fmla="*/ 40 w 51"/>
                <a:gd name="T5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66">
                  <a:moveTo>
                    <a:pt x="32" y="10"/>
                  </a:moveTo>
                  <a:lnTo>
                    <a:pt x="32" y="10"/>
                  </a:lnTo>
                  <a:cubicBezTo>
                    <a:pt x="29" y="10"/>
                    <a:pt x="27" y="8"/>
                    <a:pt x="27" y="5"/>
                  </a:cubicBezTo>
                  <a:cubicBezTo>
                    <a:pt x="27" y="3"/>
                    <a:pt x="29" y="0"/>
                    <a:pt x="32" y="0"/>
                  </a:cubicBezTo>
                  <a:cubicBezTo>
                    <a:pt x="35" y="0"/>
                    <a:pt x="37" y="3"/>
                    <a:pt x="37" y="5"/>
                  </a:cubicBezTo>
                  <a:cubicBezTo>
                    <a:pt x="37" y="8"/>
                    <a:pt x="35" y="10"/>
                    <a:pt x="32" y="10"/>
                  </a:cubicBezTo>
                  <a:lnTo>
                    <a:pt x="32" y="10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17" y="46"/>
                  </a:lnTo>
                  <a:lnTo>
                    <a:pt x="33" y="46"/>
                  </a:ln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18" y="10"/>
                  </a:moveTo>
                  <a:lnTo>
                    <a:pt x="18" y="10"/>
                  </a:lnTo>
                  <a:cubicBezTo>
                    <a:pt x="15" y="10"/>
                    <a:pt x="13" y="8"/>
                    <a:pt x="13" y="5"/>
                  </a:cubicBezTo>
                  <a:cubicBezTo>
                    <a:pt x="13" y="3"/>
                    <a:pt x="15" y="0"/>
                    <a:pt x="18" y="0"/>
                  </a:cubicBezTo>
                  <a:cubicBezTo>
                    <a:pt x="21" y="0"/>
                    <a:pt x="23" y="3"/>
                    <a:pt x="23" y="5"/>
                  </a:cubicBezTo>
                  <a:cubicBezTo>
                    <a:pt x="23" y="8"/>
                    <a:pt x="21" y="10"/>
                    <a:pt x="18" y="10"/>
                  </a:cubicBezTo>
                  <a:lnTo>
                    <a:pt x="18" y="10"/>
                  </a:lnTo>
                  <a:close/>
                  <a:moveTo>
                    <a:pt x="40" y="66"/>
                  </a:moveTo>
                  <a:lnTo>
                    <a:pt x="40" y="66"/>
                  </a:lnTo>
                  <a:lnTo>
                    <a:pt x="36" y="53"/>
                  </a:lnTo>
                  <a:lnTo>
                    <a:pt x="15" y="53"/>
                  </a:lnTo>
                  <a:lnTo>
                    <a:pt x="10" y="66"/>
                  </a:lnTo>
                  <a:lnTo>
                    <a:pt x="0" y="66"/>
                  </a:lnTo>
                  <a:lnTo>
                    <a:pt x="20" y="15"/>
                  </a:lnTo>
                  <a:lnTo>
                    <a:pt x="30" y="15"/>
                  </a:lnTo>
                  <a:lnTo>
                    <a:pt x="51" y="66"/>
                  </a:lnTo>
                  <a:lnTo>
                    <a:pt x="40" y="66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4" name="Freeform 110"/>
            <p:cNvSpPr>
              <a:spLocks/>
            </p:cNvSpPr>
            <p:nvPr userDrawn="1"/>
          </p:nvSpPr>
          <p:spPr bwMode="auto">
            <a:xfrm>
              <a:off x="1638300" y="744538"/>
              <a:ext cx="47625" cy="58738"/>
            </a:xfrm>
            <a:custGeom>
              <a:avLst/>
              <a:gdLst>
                <a:gd name="T0" fmla="*/ 27 w 44"/>
                <a:gd name="T1" fmla="*/ 7 h 51"/>
                <a:gd name="T2" fmla="*/ 27 w 44"/>
                <a:gd name="T3" fmla="*/ 7 h 51"/>
                <a:gd name="T4" fmla="*/ 27 w 44"/>
                <a:gd name="T5" fmla="*/ 51 h 51"/>
                <a:gd name="T6" fmla="*/ 17 w 44"/>
                <a:gd name="T7" fmla="*/ 51 h 51"/>
                <a:gd name="T8" fmla="*/ 17 w 44"/>
                <a:gd name="T9" fmla="*/ 7 h 51"/>
                <a:gd name="T10" fmla="*/ 0 w 44"/>
                <a:gd name="T11" fmla="*/ 7 h 51"/>
                <a:gd name="T12" fmla="*/ 0 w 44"/>
                <a:gd name="T13" fmla="*/ 0 h 51"/>
                <a:gd name="T14" fmla="*/ 44 w 44"/>
                <a:gd name="T15" fmla="*/ 0 h 51"/>
                <a:gd name="T16" fmla="*/ 44 w 44"/>
                <a:gd name="T17" fmla="*/ 7 h 51"/>
                <a:gd name="T18" fmla="*/ 27 w 44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1">
                  <a:moveTo>
                    <a:pt x="27" y="7"/>
                  </a:moveTo>
                  <a:lnTo>
                    <a:pt x="27" y="7"/>
                  </a:lnTo>
                  <a:lnTo>
                    <a:pt x="27" y="51"/>
                  </a:lnTo>
                  <a:lnTo>
                    <a:pt x="17" y="51"/>
                  </a:lnTo>
                  <a:lnTo>
                    <a:pt x="17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7"/>
                  </a:lnTo>
                  <a:lnTo>
                    <a:pt x="27" y="7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5" name="Freeform 111"/>
            <p:cNvSpPr>
              <a:spLocks/>
            </p:cNvSpPr>
            <p:nvPr userDrawn="1"/>
          </p:nvSpPr>
          <p:spPr bwMode="auto">
            <a:xfrm>
              <a:off x="1084263" y="849313"/>
              <a:ext cx="61912" cy="58738"/>
            </a:xfrm>
            <a:custGeom>
              <a:avLst/>
              <a:gdLst>
                <a:gd name="T0" fmla="*/ 48 w 57"/>
                <a:gd name="T1" fmla="*/ 51 h 51"/>
                <a:gd name="T2" fmla="*/ 48 w 57"/>
                <a:gd name="T3" fmla="*/ 51 h 51"/>
                <a:gd name="T4" fmla="*/ 46 w 57"/>
                <a:gd name="T5" fmla="*/ 12 h 51"/>
                <a:gd name="T6" fmla="*/ 33 w 57"/>
                <a:gd name="T7" fmla="*/ 44 h 51"/>
                <a:gd name="T8" fmla="*/ 24 w 57"/>
                <a:gd name="T9" fmla="*/ 44 h 51"/>
                <a:gd name="T10" fmla="*/ 11 w 57"/>
                <a:gd name="T11" fmla="*/ 12 h 51"/>
                <a:gd name="T12" fmla="*/ 10 w 57"/>
                <a:gd name="T13" fmla="*/ 51 h 51"/>
                <a:gd name="T14" fmla="*/ 0 w 57"/>
                <a:gd name="T15" fmla="*/ 51 h 51"/>
                <a:gd name="T16" fmla="*/ 3 w 57"/>
                <a:gd name="T17" fmla="*/ 0 h 51"/>
                <a:gd name="T18" fmla="*/ 15 w 57"/>
                <a:gd name="T19" fmla="*/ 0 h 51"/>
                <a:gd name="T20" fmla="*/ 29 w 57"/>
                <a:gd name="T21" fmla="*/ 34 h 51"/>
                <a:gd name="T22" fmla="*/ 42 w 57"/>
                <a:gd name="T23" fmla="*/ 0 h 51"/>
                <a:gd name="T24" fmla="*/ 54 w 57"/>
                <a:gd name="T25" fmla="*/ 0 h 51"/>
                <a:gd name="T26" fmla="*/ 57 w 57"/>
                <a:gd name="T27" fmla="*/ 51 h 51"/>
                <a:gd name="T28" fmla="*/ 48 w 5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51">
                  <a:moveTo>
                    <a:pt x="48" y="51"/>
                  </a:moveTo>
                  <a:lnTo>
                    <a:pt x="48" y="51"/>
                  </a:lnTo>
                  <a:lnTo>
                    <a:pt x="46" y="12"/>
                  </a:lnTo>
                  <a:lnTo>
                    <a:pt x="33" y="44"/>
                  </a:lnTo>
                  <a:lnTo>
                    <a:pt x="24" y="44"/>
                  </a:lnTo>
                  <a:lnTo>
                    <a:pt x="11" y="12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3" y="0"/>
                  </a:lnTo>
                  <a:lnTo>
                    <a:pt x="15" y="0"/>
                  </a:lnTo>
                  <a:lnTo>
                    <a:pt x="29" y="34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57" y="51"/>
                  </a:lnTo>
                  <a:lnTo>
                    <a:pt x="48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6" name="Freeform 112"/>
            <p:cNvSpPr>
              <a:spLocks noEditPoints="1"/>
            </p:cNvSpPr>
            <p:nvPr userDrawn="1"/>
          </p:nvSpPr>
          <p:spPr bwMode="auto">
            <a:xfrm>
              <a:off x="1166813" y="833438"/>
              <a:ext cx="46037" cy="74613"/>
            </a:xfrm>
            <a:custGeom>
              <a:avLst/>
              <a:gdLst>
                <a:gd name="T0" fmla="*/ 28 w 43"/>
                <a:gd name="T1" fmla="*/ 9 h 66"/>
                <a:gd name="T2" fmla="*/ 28 w 43"/>
                <a:gd name="T3" fmla="*/ 9 h 66"/>
                <a:gd name="T4" fmla="*/ 23 w 43"/>
                <a:gd name="T5" fmla="*/ 5 h 66"/>
                <a:gd name="T6" fmla="*/ 28 w 43"/>
                <a:gd name="T7" fmla="*/ 0 h 66"/>
                <a:gd name="T8" fmla="*/ 33 w 43"/>
                <a:gd name="T9" fmla="*/ 5 h 66"/>
                <a:gd name="T10" fmla="*/ 28 w 43"/>
                <a:gd name="T11" fmla="*/ 9 h 66"/>
                <a:gd name="T12" fmla="*/ 28 w 43"/>
                <a:gd name="T13" fmla="*/ 9 h 66"/>
                <a:gd name="T14" fmla="*/ 14 w 43"/>
                <a:gd name="T15" fmla="*/ 9 h 66"/>
                <a:gd name="T16" fmla="*/ 14 w 43"/>
                <a:gd name="T17" fmla="*/ 9 h 66"/>
                <a:gd name="T18" fmla="*/ 9 w 43"/>
                <a:gd name="T19" fmla="*/ 5 h 66"/>
                <a:gd name="T20" fmla="*/ 14 w 43"/>
                <a:gd name="T21" fmla="*/ 0 h 66"/>
                <a:gd name="T22" fmla="*/ 19 w 43"/>
                <a:gd name="T23" fmla="*/ 5 h 66"/>
                <a:gd name="T24" fmla="*/ 14 w 43"/>
                <a:gd name="T25" fmla="*/ 9 h 66"/>
                <a:gd name="T26" fmla="*/ 14 w 43"/>
                <a:gd name="T27" fmla="*/ 9 h 66"/>
                <a:gd name="T28" fmla="*/ 22 w 43"/>
                <a:gd name="T29" fmla="*/ 66 h 66"/>
                <a:gd name="T30" fmla="*/ 22 w 43"/>
                <a:gd name="T31" fmla="*/ 66 h 66"/>
                <a:gd name="T32" fmla="*/ 0 w 43"/>
                <a:gd name="T33" fmla="*/ 45 h 66"/>
                <a:gd name="T34" fmla="*/ 0 w 43"/>
                <a:gd name="T35" fmla="*/ 14 h 66"/>
                <a:gd name="T36" fmla="*/ 10 w 43"/>
                <a:gd name="T37" fmla="*/ 14 h 66"/>
                <a:gd name="T38" fmla="*/ 10 w 43"/>
                <a:gd name="T39" fmla="*/ 46 h 66"/>
                <a:gd name="T40" fmla="*/ 22 w 43"/>
                <a:gd name="T41" fmla="*/ 59 h 66"/>
                <a:gd name="T42" fmla="*/ 33 w 43"/>
                <a:gd name="T43" fmla="*/ 46 h 66"/>
                <a:gd name="T44" fmla="*/ 33 w 43"/>
                <a:gd name="T45" fmla="*/ 14 h 66"/>
                <a:gd name="T46" fmla="*/ 43 w 43"/>
                <a:gd name="T47" fmla="*/ 14 h 66"/>
                <a:gd name="T48" fmla="*/ 43 w 43"/>
                <a:gd name="T49" fmla="*/ 45 h 66"/>
                <a:gd name="T50" fmla="*/ 22 w 43"/>
                <a:gd name="T5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" h="66">
                  <a:moveTo>
                    <a:pt x="28" y="9"/>
                  </a:moveTo>
                  <a:lnTo>
                    <a:pt x="28" y="9"/>
                  </a:lnTo>
                  <a:cubicBezTo>
                    <a:pt x="25" y="9"/>
                    <a:pt x="23" y="7"/>
                    <a:pt x="23" y="5"/>
                  </a:cubicBezTo>
                  <a:cubicBezTo>
                    <a:pt x="23" y="2"/>
                    <a:pt x="25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7"/>
                    <a:pt x="31" y="9"/>
                    <a:pt x="28" y="9"/>
                  </a:cubicBezTo>
                  <a:lnTo>
                    <a:pt x="28" y="9"/>
                  </a:lnTo>
                  <a:close/>
                  <a:moveTo>
                    <a:pt x="14" y="9"/>
                  </a:moveTo>
                  <a:lnTo>
                    <a:pt x="14" y="9"/>
                  </a:lnTo>
                  <a:cubicBezTo>
                    <a:pt x="11" y="9"/>
                    <a:pt x="9" y="7"/>
                    <a:pt x="9" y="5"/>
                  </a:cubicBezTo>
                  <a:cubicBezTo>
                    <a:pt x="9" y="2"/>
                    <a:pt x="11" y="0"/>
                    <a:pt x="14" y="0"/>
                  </a:cubicBezTo>
                  <a:cubicBezTo>
                    <a:pt x="17" y="0"/>
                    <a:pt x="19" y="2"/>
                    <a:pt x="19" y="5"/>
                  </a:cubicBezTo>
                  <a:cubicBezTo>
                    <a:pt x="19" y="7"/>
                    <a:pt x="17" y="9"/>
                    <a:pt x="14" y="9"/>
                  </a:cubicBezTo>
                  <a:lnTo>
                    <a:pt x="14" y="9"/>
                  </a:lnTo>
                  <a:close/>
                  <a:moveTo>
                    <a:pt x="22" y="66"/>
                  </a:moveTo>
                  <a:lnTo>
                    <a:pt x="22" y="66"/>
                  </a:lnTo>
                  <a:cubicBezTo>
                    <a:pt x="11" y="66"/>
                    <a:pt x="0" y="62"/>
                    <a:pt x="0" y="45"/>
                  </a:cubicBezTo>
                  <a:lnTo>
                    <a:pt x="0" y="14"/>
                  </a:lnTo>
                  <a:lnTo>
                    <a:pt x="10" y="14"/>
                  </a:lnTo>
                  <a:lnTo>
                    <a:pt x="10" y="46"/>
                  </a:lnTo>
                  <a:cubicBezTo>
                    <a:pt x="10" y="54"/>
                    <a:pt x="14" y="59"/>
                    <a:pt x="22" y="59"/>
                  </a:cubicBezTo>
                  <a:cubicBezTo>
                    <a:pt x="29" y="59"/>
                    <a:pt x="33" y="54"/>
                    <a:pt x="33" y="46"/>
                  </a:cubicBezTo>
                  <a:lnTo>
                    <a:pt x="33" y="14"/>
                  </a:lnTo>
                  <a:lnTo>
                    <a:pt x="43" y="14"/>
                  </a:lnTo>
                  <a:lnTo>
                    <a:pt x="43" y="45"/>
                  </a:lnTo>
                  <a:cubicBezTo>
                    <a:pt x="43" y="61"/>
                    <a:pt x="32" y="66"/>
                    <a:pt x="22" y="66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7" name="Freeform 113"/>
            <p:cNvSpPr>
              <a:spLocks/>
            </p:cNvSpPr>
            <p:nvPr userDrawn="1"/>
          </p:nvSpPr>
          <p:spPr bwMode="auto">
            <a:xfrm>
              <a:off x="1235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8" name="Freeform 114"/>
            <p:cNvSpPr>
              <a:spLocks/>
            </p:cNvSpPr>
            <p:nvPr userDrawn="1"/>
          </p:nvSpPr>
          <p:spPr bwMode="auto">
            <a:xfrm>
              <a:off x="1300163" y="849313"/>
              <a:ext cx="47625" cy="58738"/>
            </a:xfrm>
            <a:custGeom>
              <a:avLst/>
              <a:gdLst>
                <a:gd name="T0" fmla="*/ 25 w 43"/>
                <a:gd name="T1" fmla="*/ 53 h 53"/>
                <a:gd name="T2" fmla="*/ 25 w 43"/>
                <a:gd name="T3" fmla="*/ 53 h 53"/>
                <a:gd name="T4" fmla="*/ 0 w 43"/>
                <a:gd name="T5" fmla="*/ 26 h 53"/>
                <a:gd name="T6" fmla="*/ 25 w 43"/>
                <a:gd name="T7" fmla="*/ 0 h 53"/>
                <a:gd name="T8" fmla="*/ 41 w 43"/>
                <a:gd name="T9" fmla="*/ 7 h 53"/>
                <a:gd name="T10" fmla="*/ 38 w 43"/>
                <a:gd name="T11" fmla="*/ 14 h 53"/>
                <a:gd name="T12" fmla="*/ 25 w 43"/>
                <a:gd name="T13" fmla="*/ 7 h 53"/>
                <a:gd name="T14" fmla="*/ 10 w 43"/>
                <a:gd name="T15" fmla="*/ 26 h 53"/>
                <a:gd name="T16" fmla="*/ 25 w 43"/>
                <a:gd name="T17" fmla="*/ 46 h 53"/>
                <a:gd name="T18" fmla="*/ 39 w 43"/>
                <a:gd name="T19" fmla="*/ 39 h 53"/>
                <a:gd name="T20" fmla="*/ 43 w 43"/>
                <a:gd name="T21" fmla="*/ 47 h 53"/>
                <a:gd name="T22" fmla="*/ 25 w 43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3">
                  <a:moveTo>
                    <a:pt x="25" y="53"/>
                  </a:moveTo>
                  <a:lnTo>
                    <a:pt x="25" y="53"/>
                  </a:lnTo>
                  <a:cubicBezTo>
                    <a:pt x="8" y="53"/>
                    <a:pt x="0" y="40"/>
                    <a:pt x="0" y="26"/>
                  </a:cubicBezTo>
                  <a:cubicBezTo>
                    <a:pt x="0" y="12"/>
                    <a:pt x="10" y="0"/>
                    <a:pt x="25" y="0"/>
                  </a:cubicBezTo>
                  <a:cubicBezTo>
                    <a:pt x="32" y="0"/>
                    <a:pt x="38" y="3"/>
                    <a:pt x="41" y="7"/>
                  </a:cubicBezTo>
                  <a:lnTo>
                    <a:pt x="38" y="14"/>
                  </a:lnTo>
                  <a:cubicBezTo>
                    <a:pt x="35" y="10"/>
                    <a:pt x="32" y="7"/>
                    <a:pt x="25" y="7"/>
                  </a:cubicBezTo>
                  <a:cubicBezTo>
                    <a:pt x="16" y="7"/>
                    <a:pt x="10" y="15"/>
                    <a:pt x="10" y="26"/>
                  </a:cubicBezTo>
                  <a:cubicBezTo>
                    <a:pt x="10" y="37"/>
                    <a:pt x="17" y="46"/>
                    <a:pt x="25" y="46"/>
                  </a:cubicBezTo>
                  <a:cubicBezTo>
                    <a:pt x="31" y="46"/>
                    <a:pt x="35" y="44"/>
                    <a:pt x="39" y="39"/>
                  </a:cubicBezTo>
                  <a:lnTo>
                    <a:pt x="43" y="47"/>
                  </a:lnTo>
                  <a:cubicBezTo>
                    <a:pt x="37" y="51"/>
                    <a:pt x="33" y="53"/>
                    <a:pt x="25" y="53"/>
                  </a:cubicBez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9" name="Freeform 115"/>
            <p:cNvSpPr>
              <a:spLocks/>
            </p:cNvSpPr>
            <p:nvPr userDrawn="1"/>
          </p:nvSpPr>
          <p:spPr bwMode="auto">
            <a:xfrm>
              <a:off x="1365250" y="849313"/>
              <a:ext cx="44450" cy="58738"/>
            </a:xfrm>
            <a:custGeom>
              <a:avLst/>
              <a:gdLst>
                <a:gd name="T0" fmla="*/ 32 w 41"/>
                <a:gd name="T1" fmla="*/ 51 h 51"/>
                <a:gd name="T2" fmla="*/ 32 w 41"/>
                <a:gd name="T3" fmla="*/ 51 h 51"/>
                <a:gd name="T4" fmla="*/ 32 w 41"/>
                <a:gd name="T5" fmla="*/ 28 h 51"/>
                <a:gd name="T6" fmla="*/ 9 w 41"/>
                <a:gd name="T7" fmla="*/ 28 h 51"/>
                <a:gd name="T8" fmla="*/ 9 w 41"/>
                <a:gd name="T9" fmla="*/ 51 h 51"/>
                <a:gd name="T10" fmla="*/ 0 w 41"/>
                <a:gd name="T11" fmla="*/ 51 h 51"/>
                <a:gd name="T12" fmla="*/ 0 w 41"/>
                <a:gd name="T13" fmla="*/ 0 h 51"/>
                <a:gd name="T14" fmla="*/ 9 w 41"/>
                <a:gd name="T15" fmla="*/ 0 h 51"/>
                <a:gd name="T16" fmla="*/ 9 w 41"/>
                <a:gd name="T17" fmla="*/ 21 h 51"/>
                <a:gd name="T18" fmla="*/ 32 w 41"/>
                <a:gd name="T19" fmla="*/ 21 h 51"/>
                <a:gd name="T20" fmla="*/ 32 w 41"/>
                <a:gd name="T21" fmla="*/ 0 h 51"/>
                <a:gd name="T22" fmla="*/ 41 w 41"/>
                <a:gd name="T23" fmla="*/ 0 h 51"/>
                <a:gd name="T24" fmla="*/ 41 w 41"/>
                <a:gd name="T25" fmla="*/ 51 h 51"/>
                <a:gd name="T26" fmla="*/ 32 w 41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51">
                  <a:moveTo>
                    <a:pt x="32" y="51"/>
                  </a:moveTo>
                  <a:lnTo>
                    <a:pt x="32" y="5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41" y="51"/>
                  </a:lnTo>
                  <a:lnTo>
                    <a:pt x="32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0" name="Freeform 116"/>
            <p:cNvSpPr>
              <a:spLocks/>
            </p:cNvSpPr>
            <p:nvPr userDrawn="1"/>
          </p:nvSpPr>
          <p:spPr bwMode="auto">
            <a:xfrm>
              <a:off x="1433513" y="849313"/>
              <a:ext cx="38100" cy="58738"/>
            </a:xfrm>
            <a:custGeom>
              <a:avLst/>
              <a:gdLst>
                <a:gd name="T0" fmla="*/ 0 w 35"/>
                <a:gd name="T1" fmla="*/ 51 h 51"/>
                <a:gd name="T2" fmla="*/ 0 w 35"/>
                <a:gd name="T3" fmla="*/ 51 h 51"/>
                <a:gd name="T4" fmla="*/ 0 w 35"/>
                <a:gd name="T5" fmla="*/ 0 h 51"/>
                <a:gd name="T6" fmla="*/ 34 w 35"/>
                <a:gd name="T7" fmla="*/ 0 h 51"/>
                <a:gd name="T8" fmla="*/ 34 w 35"/>
                <a:gd name="T9" fmla="*/ 8 h 51"/>
                <a:gd name="T10" fmla="*/ 9 w 35"/>
                <a:gd name="T11" fmla="*/ 8 h 51"/>
                <a:gd name="T12" fmla="*/ 9 w 35"/>
                <a:gd name="T13" fmla="*/ 21 h 51"/>
                <a:gd name="T14" fmla="*/ 32 w 35"/>
                <a:gd name="T15" fmla="*/ 21 h 51"/>
                <a:gd name="T16" fmla="*/ 32 w 35"/>
                <a:gd name="T17" fmla="*/ 28 h 51"/>
                <a:gd name="T18" fmla="*/ 9 w 35"/>
                <a:gd name="T19" fmla="*/ 28 h 51"/>
                <a:gd name="T20" fmla="*/ 9 w 35"/>
                <a:gd name="T21" fmla="*/ 43 h 51"/>
                <a:gd name="T22" fmla="*/ 35 w 35"/>
                <a:gd name="T23" fmla="*/ 43 h 51"/>
                <a:gd name="T24" fmla="*/ 35 w 35"/>
                <a:gd name="T25" fmla="*/ 51 h 51"/>
                <a:gd name="T26" fmla="*/ 0 w 35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51">
                  <a:moveTo>
                    <a:pt x="0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32" y="21"/>
                  </a:lnTo>
                  <a:lnTo>
                    <a:pt x="32" y="28"/>
                  </a:lnTo>
                  <a:lnTo>
                    <a:pt x="9" y="28"/>
                  </a:lnTo>
                  <a:lnTo>
                    <a:pt x="9" y="43"/>
                  </a:lnTo>
                  <a:lnTo>
                    <a:pt x="35" y="43"/>
                  </a:lnTo>
                  <a:lnTo>
                    <a:pt x="35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1" name="Freeform 117"/>
            <p:cNvSpPr>
              <a:spLocks/>
            </p:cNvSpPr>
            <p:nvPr userDrawn="1"/>
          </p:nvSpPr>
          <p:spPr bwMode="auto">
            <a:xfrm>
              <a:off x="1489075" y="849313"/>
              <a:ext cx="47625" cy="58738"/>
            </a:xfrm>
            <a:custGeom>
              <a:avLst/>
              <a:gdLst>
                <a:gd name="T0" fmla="*/ 31 w 43"/>
                <a:gd name="T1" fmla="*/ 51 h 51"/>
                <a:gd name="T2" fmla="*/ 31 w 43"/>
                <a:gd name="T3" fmla="*/ 51 h 51"/>
                <a:gd name="T4" fmla="*/ 9 w 43"/>
                <a:gd name="T5" fmla="*/ 13 h 51"/>
                <a:gd name="T6" fmla="*/ 9 w 43"/>
                <a:gd name="T7" fmla="*/ 51 h 51"/>
                <a:gd name="T8" fmla="*/ 0 w 43"/>
                <a:gd name="T9" fmla="*/ 51 h 51"/>
                <a:gd name="T10" fmla="*/ 0 w 43"/>
                <a:gd name="T11" fmla="*/ 0 h 51"/>
                <a:gd name="T12" fmla="*/ 12 w 43"/>
                <a:gd name="T13" fmla="*/ 0 h 51"/>
                <a:gd name="T14" fmla="*/ 34 w 43"/>
                <a:gd name="T15" fmla="*/ 38 h 51"/>
                <a:gd name="T16" fmla="*/ 34 w 43"/>
                <a:gd name="T17" fmla="*/ 0 h 51"/>
                <a:gd name="T18" fmla="*/ 43 w 43"/>
                <a:gd name="T19" fmla="*/ 0 h 51"/>
                <a:gd name="T20" fmla="*/ 43 w 43"/>
                <a:gd name="T21" fmla="*/ 51 h 51"/>
                <a:gd name="T22" fmla="*/ 31 w 43"/>
                <a:gd name="T2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51">
                  <a:moveTo>
                    <a:pt x="31" y="51"/>
                  </a:moveTo>
                  <a:lnTo>
                    <a:pt x="31" y="51"/>
                  </a:lnTo>
                  <a:lnTo>
                    <a:pt x="9" y="13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4" y="38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51"/>
                  </a:lnTo>
                  <a:lnTo>
                    <a:pt x="31" y="51"/>
                  </a:lnTo>
                  <a:close/>
                </a:path>
              </a:pathLst>
            </a:custGeom>
            <a:solidFill>
              <a:srgbClr val="8C8F8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009900"/>
        </a:buClr>
        <a:buFont typeface="Wingdings" pitchFamily="2" charset="2"/>
        <a:defRPr sz="2400">
          <a:solidFill>
            <a:srgbClr val="006C30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marL="742950" indent="-285750" algn="l" rtl="0" eaLnBrk="1" fontAlgn="base" hangingPunct="1">
        <a:lnSpc>
          <a:spcPct val="140000"/>
        </a:lnSpc>
        <a:spcBef>
          <a:spcPct val="20000"/>
        </a:spcBef>
        <a:spcAft>
          <a:spcPct val="0"/>
        </a:spcAft>
        <a:buClr>
          <a:srgbClr val="006600"/>
        </a:buClr>
        <a:buFont typeface="Times" pitchFamily="18" charset="0"/>
        <a:buChar char="•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006600"/>
        </a:buClr>
        <a:buFont typeface="LMU CompatilFact" pitchFamily="2" charset="0"/>
        <a:buChar char="–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rgbClr val="006600"/>
        </a:buClr>
        <a:buChar char="-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41990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17192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MU_CD_2018">
  <a:themeElements>
    <a:clrScheme name="">
      <a:dk1>
        <a:srgbClr val="000000"/>
      </a:dk1>
      <a:lt1>
        <a:srgbClr val="FFFFFF"/>
      </a:lt1>
      <a:dk2>
        <a:srgbClr val="4C4C4C"/>
      </a:dk2>
      <a:lt2>
        <a:srgbClr val="808080"/>
      </a:lt2>
      <a:accent1>
        <a:srgbClr val="FFCC00"/>
      </a:accent1>
      <a:accent2>
        <a:srgbClr val="FF990F"/>
      </a:accent2>
      <a:accent3>
        <a:srgbClr val="FFFFFF"/>
      </a:accent3>
      <a:accent4>
        <a:srgbClr val="000000"/>
      </a:accent4>
      <a:accent5>
        <a:srgbClr val="FFE2AA"/>
      </a:accent5>
      <a:accent6>
        <a:srgbClr val="E78A0C"/>
      </a:accent6>
      <a:hlink>
        <a:srgbClr val="009900"/>
      </a:hlink>
      <a:folHlink>
        <a:srgbClr val="99CC00"/>
      </a:folHlink>
    </a:clrScheme>
    <a:fontScheme name="LMU">
      <a:majorFont>
        <a:latin typeface="LMU SabonNext Demi"/>
        <a:ea typeface=""/>
        <a:cs typeface=""/>
      </a:majorFont>
      <a:minorFont>
        <a:latin typeface="LMU CompatilFac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MU CompatilFac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MU CompatilFact" pitchFamily="2" charset="0"/>
          </a:defRPr>
        </a:defPPr>
      </a:lstStyle>
    </a:lnDef>
  </a:objectDefaults>
  <a:extraClrSchemeLst>
    <a:extraClrScheme>
      <a:clrScheme name="Praesentation_lmu_aktuel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3">
        <a:dk1>
          <a:srgbClr val="000000"/>
        </a:dk1>
        <a:lt1>
          <a:srgbClr val="FFFFFF"/>
        </a:lt1>
        <a:dk2>
          <a:srgbClr val="4C4C4C"/>
        </a:dk2>
        <a:lt2>
          <a:srgbClr val="808080"/>
        </a:lt2>
        <a:accent1>
          <a:srgbClr val="FF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E78A00"/>
        </a:accent6>
        <a:hlink>
          <a:srgbClr val="0099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mu_cd_2018_lcf43</Template>
  <TotalTime>0</TotalTime>
  <Words>1</Words>
  <Application>Microsoft Office PowerPoint</Application>
  <PresentationFormat>Bildschirmpräsentation (4:3)</PresentationFormat>
  <Paragraphs>1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LMU CompatilFact</vt:lpstr>
      <vt:lpstr>Times</vt:lpstr>
      <vt:lpstr>Wingdings</vt:lpstr>
      <vt:lpstr>LMU_CD_2018</vt:lpstr>
      <vt:lpstr>think-cell Folie</vt:lpstr>
      <vt:lpstr>PowerPoint-Präsentation</vt:lpstr>
      <vt:lpstr>PowerPoint-Präsentation</vt:lpstr>
    </vt:vector>
  </TitlesOfParts>
  <Company>ZU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Vordermaier</dc:creator>
  <cp:lastModifiedBy>Alexander Vordermaier</cp:lastModifiedBy>
  <cp:revision>1</cp:revision>
  <cp:lastPrinted>2015-10-21T13:20:21Z</cp:lastPrinted>
  <dcterms:created xsi:type="dcterms:W3CDTF">2019-02-22T13:28:59Z</dcterms:created>
  <dcterms:modified xsi:type="dcterms:W3CDTF">2019-02-22T14:32:36Z</dcterms:modified>
  <cp:contentStatus>Mai 2018</cp:contentStatus>
</cp:coreProperties>
</file>